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6.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35.xml" ContentType="application/vnd.openxmlformats-officedocument.presentationml.tags+xml"/>
  <Override PartName="/ppt/tags/tag3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handoutMasterIdLst>
    <p:handoutMasterId r:id="rId22"/>
  </p:handoutMasterIdLst>
  <p:sldIdLst>
    <p:sldId id="262" r:id="rId2"/>
    <p:sldId id="259" r:id="rId3"/>
    <p:sldId id="260" r:id="rId4"/>
    <p:sldId id="261" r:id="rId5"/>
    <p:sldId id="269" r:id="rId6"/>
    <p:sldId id="292" r:id="rId7"/>
    <p:sldId id="316" r:id="rId8"/>
    <p:sldId id="319" r:id="rId9"/>
    <p:sldId id="328" r:id="rId10"/>
    <p:sldId id="334" r:id="rId11"/>
    <p:sldId id="335" r:id="rId12"/>
    <p:sldId id="331" r:id="rId13"/>
    <p:sldId id="323" r:id="rId14"/>
    <p:sldId id="336" r:id="rId15"/>
    <p:sldId id="286" r:id="rId16"/>
    <p:sldId id="337" r:id="rId17"/>
    <p:sldId id="267" r:id="rId18"/>
    <p:sldId id="329" r:id="rId19"/>
    <p:sldId id="330" r:id="rId20"/>
  </p:sldIdLst>
  <p:sldSz cx="12192000" cy="6858000"/>
  <p:notesSz cx="6959600" cy="92456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412" autoAdjust="0"/>
    <p:restoredTop sz="96586" autoAdjust="0"/>
  </p:normalViewPr>
  <p:slideViewPr>
    <p:cSldViewPr snapToGrid="0">
      <p:cViewPr varScale="1">
        <p:scale>
          <a:sx n="112" d="100"/>
          <a:sy n="112" d="100"/>
        </p:scale>
        <p:origin x="97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americas.degussanet.com\dfs-003\HOR\home\J17542\data\profile%20redirected%20folders\downloads\ltms%20(46).csv"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americas.degussanet.com\dfs-003\HOR\home\J17542\ROBO\Surveillance%20Panel\April%202019\Dilute%20NO2%20dat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americas.degussanet.com\dfs-003\HOR\home\J17542\ROBO\Surveillance%20Panel\April%202019\Dilute%20NO2%20data.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americas.degussanet.com\dfs-003\HOR\home\J17542\ROBO\Surveillance%20Panel\April%202019\Dilute%20NO2%20data.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
          <c:order val="0"/>
          <c:tx>
            <c:v>434-1</c:v>
          </c:tx>
          <c:spPr>
            <a:ln w="25400" cap="rnd">
              <a:noFill/>
              <a:round/>
            </a:ln>
            <a:effectLst/>
          </c:spPr>
          <c:marker>
            <c:symbol val="circle"/>
            <c:size val="7"/>
            <c:spPr>
              <a:solidFill>
                <a:schemeClr val="accent2"/>
              </a:solidFill>
              <a:ln w="9525">
                <a:solidFill>
                  <a:schemeClr val="accent2"/>
                </a:solidFill>
              </a:ln>
              <a:effectLst/>
            </c:spPr>
          </c:marker>
          <c:xVal>
            <c:numRef>
              <c:f>'ltms 08062019'!$AO$35:$AO$54</c:f>
              <c:numCache>
                <c:formatCode>General</c:formatCode>
                <c:ptCount val="20"/>
                <c:pt idx="0">
                  <c:v>56.7</c:v>
                </c:pt>
                <c:pt idx="1">
                  <c:v>66.8</c:v>
                </c:pt>
                <c:pt idx="2">
                  <c:v>70.3</c:v>
                </c:pt>
                <c:pt idx="3">
                  <c:v>58.4</c:v>
                </c:pt>
                <c:pt idx="4">
                  <c:v>81.5</c:v>
                </c:pt>
                <c:pt idx="5">
                  <c:v>80.8</c:v>
                </c:pt>
                <c:pt idx="6">
                  <c:v>77.099999999999994</c:v>
                </c:pt>
                <c:pt idx="7">
                  <c:v>47.8</c:v>
                </c:pt>
                <c:pt idx="8">
                  <c:v>80.400000000000006</c:v>
                </c:pt>
                <c:pt idx="9">
                  <c:v>72.3</c:v>
                </c:pt>
                <c:pt idx="10">
                  <c:v>62.1</c:v>
                </c:pt>
                <c:pt idx="11">
                  <c:v>65.900000000000006</c:v>
                </c:pt>
                <c:pt idx="12">
                  <c:v>75.3</c:v>
                </c:pt>
                <c:pt idx="13">
                  <c:v>60.6</c:v>
                </c:pt>
                <c:pt idx="14">
                  <c:v>88.4</c:v>
                </c:pt>
                <c:pt idx="15">
                  <c:v>62</c:v>
                </c:pt>
                <c:pt idx="16">
                  <c:v>83.6</c:v>
                </c:pt>
                <c:pt idx="17">
                  <c:v>141</c:v>
                </c:pt>
                <c:pt idx="18">
                  <c:v>78.3</c:v>
                </c:pt>
                <c:pt idx="19">
                  <c:v>103.5</c:v>
                </c:pt>
              </c:numCache>
            </c:numRef>
          </c:xVal>
          <c:yVal>
            <c:numRef>
              <c:f>'ltms 08062019'!$L$35:$L$54</c:f>
              <c:numCache>
                <c:formatCode>General</c:formatCode>
                <c:ptCount val="20"/>
                <c:pt idx="0">
                  <c:v>28542</c:v>
                </c:pt>
                <c:pt idx="1">
                  <c:v>39917</c:v>
                </c:pt>
                <c:pt idx="2">
                  <c:v>35562</c:v>
                </c:pt>
                <c:pt idx="3">
                  <c:v>32100</c:v>
                </c:pt>
                <c:pt idx="4">
                  <c:v>36700</c:v>
                </c:pt>
                <c:pt idx="5">
                  <c:v>41014</c:v>
                </c:pt>
                <c:pt idx="6">
                  <c:v>37213</c:v>
                </c:pt>
                <c:pt idx="7">
                  <c:v>39815</c:v>
                </c:pt>
                <c:pt idx="8">
                  <c:v>37017</c:v>
                </c:pt>
                <c:pt idx="9">
                  <c:v>36714</c:v>
                </c:pt>
                <c:pt idx="10">
                  <c:v>38471</c:v>
                </c:pt>
                <c:pt idx="11">
                  <c:v>33300</c:v>
                </c:pt>
                <c:pt idx="12">
                  <c:v>37170</c:v>
                </c:pt>
                <c:pt idx="13">
                  <c:v>31800</c:v>
                </c:pt>
                <c:pt idx="14">
                  <c:v>44363</c:v>
                </c:pt>
                <c:pt idx="15">
                  <c:v>35500</c:v>
                </c:pt>
                <c:pt idx="16">
                  <c:v>42200</c:v>
                </c:pt>
                <c:pt idx="17">
                  <c:v>51385</c:v>
                </c:pt>
                <c:pt idx="18">
                  <c:v>35900</c:v>
                </c:pt>
                <c:pt idx="19">
                  <c:v>45100</c:v>
                </c:pt>
              </c:numCache>
            </c:numRef>
          </c:yVal>
          <c:smooth val="0"/>
        </c:ser>
        <c:ser>
          <c:idx val="2"/>
          <c:order val="1"/>
          <c:tx>
            <c:v>434-2</c:v>
          </c:tx>
          <c:spPr>
            <a:ln w="25400" cap="rnd">
              <a:noFill/>
              <a:round/>
            </a:ln>
            <a:effectLst/>
          </c:spPr>
          <c:marker>
            <c:symbol val="circle"/>
            <c:size val="7"/>
            <c:spPr>
              <a:solidFill>
                <a:schemeClr val="accent3"/>
              </a:solidFill>
              <a:ln w="9525">
                <a:solidFill>
                  <a:schemeClr val="accent3"/>
                </a:solidFill>
              </a:ln>
              <a:effectLst/>
            </c:spPr>
          </c:marker>
          <c:xVal>
            <c:numRef>
              <c:f>'ltms 08062019'!$AO$13:$AO$32</c:f>
              <c:numCache>
                <c:formatCode>General</c:formatCode>
                <c:ptCount val="20"/>
                <c:pt idx="0">
                  <c:v>104.4</c:v>
                </c:pt>
                <c:pt idx="1">
                  <c:v>85.4</c:v>
                </c:pt>
                <c:pt idx="2">
                  <c:v>144</c:v>
                </c:pt>
                <c:pt idx="3">
                  <c:v>169.6</c:v>
                </c:pt>
                <c:pt idx="4">
                  <c:v>175.2</c:v>
                </c:pt>
                <c:pt idx="5">
                  <c:v>110.4</c:v>
                </c:pt>
                <c:pt idx="6">
                  <c:v>246.6</c:v>
                </c:pt>
                <c:pt idx="7">
                  <c:v>171.5</c:v>
                </c:pt>
                <c:pt idx="8">
                  <c:v>185.5</c:v>
                </c:pt>
                <c:pt idx="9">
                  <c:v>127.7</c:v>
                </c:pt>
                <c:pt idx="10">
                  <c:v>138.1</c:v>
                </c:pt>
                <c:pt idx="11">
                  <c:v>89</c:v>
                </c:pt>
                <c:pt idx="12">
                  <c:v>108.9</c:v>
                </c:pt>
                <c:pt idx="13">
                  <c:v>168.3</c:v>
                </c:pt>
                <c:pt idx="14">
                  <c:v>117.7</c:v>
                </c:pt>
                <c:pt idx="15">
                  <c:v>121.2</c:v>
                </c:pt>
                <c:pt idx="16">
                  <c:v>102.2</c:v>
                </c:pt>
                <c:pt idx="17">
                  <c:v>91.8</c:v>
                </c:pt>
                <c:pt idx="18">
                  <c:v>118.3</c:v>
                </c:pt>
                <c:pt idx="19">
                  <c:v>108.9</c:v>
                </c:pt>
              </c:numCache>
            </c:numRef>
          </c:xVal>
          <c:yVal>
            <c:numRef>
              <c:f>'ltms 08062019'!$L$13:$L$32</c:f>
              <c:numCache>
                <c:formatCode>General</c:formatCode>
                <c:ptCount val="20"/>
                <c:pt idx="0">
                  <c:v>49000</c:v>
                </c:pt>
                <c:pt idx="1">
                  <c:v>38700</c:v>
                </c:pt>
                <c:pt idx="2">
                  <c:v>64900</c:v>
                </c:pt>
                <c:pt idx="3">
                  <c:v>74500</c:v>
                </c:pt>
                <c:pt idx="4">
                  <c:v>78300</c:v>
                </c:pt>
                <c:pt idx="5">
                  <c:v>48800</c:v>
                </c:pt>
                <c:pt idx="6">
                  <c:v>127000</c:v>
                </c:pt>
                <c:pt idx="7">
                  <c:v>75000</c:v>
                </c:pt>
                <c:pt idx="8">
                  <c:v>81800</c:v>
                </c:pt>
                <c:pt idx="9">
                  <c:v>57200</c:v>
                </c:pt>
                <c:pt idx="10">
                  <c:v>60400</c:v>
                </c:pt>
                <c:pt idx="11">
                  <c:v>38200</c:v>
                </c:pt>
                <c:pt idx="12">
                  <c:v>45100</c:v>
                </c:pt>
                <c:pt idx="13">
                  <c:v>75000</c:v>
                </c:pt>
                <c:pt idx="14">
                  <c:v>50200</c:v>
                </c:pt>
                <c:pt idx="15">
                  <c:v>51700</c:v>
                </c:pt>
                <c:pt idx="16">
                  <c:v>45206</c:v>
                </c:pt>
                <c:pt idx="17">
                  <c:v>39900</c:v>
                </c:pt>
                <c:pt idx="18">
                  <c:v>49800</c:v>
                </c:pt>
                <c:pt idx="19">
                  <c:v>49400</c:v>
                </c:pt>
              </c:numCache>
            </c:numRef>
          </c:yVal>
          <c:smooth val="0"/>
        </c:ser>
        <c:ser>
          <c:idx val="0"/>
          <c:order val="2"/>
          <c:tx>
            <c:v>434-3</c:v>
          </c:tx>
          <c:spPr>
            <a:ln w="19050" cap="rnd">
              <a:noFill/>
              <a:round/>
            </a:ln>
            <a:effectLst/>
          </c:spPr>
          <c:marker>
            <c:symbol val="square"/>
            <c:size val="7"/>
            <c:spPr>
              <a:solidFill>
                <a:schemeClr val="accent1"/>
              </a:solidFill>
              <a:ln w="9525">
                <a:solidFill>
                  <a:schemeClr val="accent1"/>
                </a:solidFill>
              </a:ln>
              <a:effectLst/>
            </c:spPr>
          </c:marker>
          <c:xVal>
            <c:numRef>
              <c:f>'ltms 08062019'!$AO$2:$AO$11</c:f>
              <c:numCache>
                <c:formatCode>General</c:formatCode>
                <c:ptCount val="10"/>
                <c:pt idx="0">
                  <c:v>83.4</c:v>
                </c:pt>
                <c:pt idx="1">
                  <c:v>93.7</c:v>
                </c:pt>
                <c:pt idx="2">
                  <c:v>96.3</c:v>
                </c:pt>
                <c:pt idx="3">
                  <c:v>75.7</c:v>
                </c:pt>
                <c:pt idx="4">
                  <c:v>66.7</c:v>
                </c:pt>
                <c:pt idx="5">
                  <c:v>72.599999999999994</c:v>
                </c:pt>
                <c:pt idx="6">
                  <c:v>97.2</c:v>
                </c:pt>
                <c:pt idx="7">
                  <c:v>84.1</c:v>
                </c:pt>
                <c:pt idx="8">
                  <c:v>125.4</c:v>
                </c:pt>
                <c:pt idx="9">
                  <c:v>99.4</c:v>
                </c:pt>
              </c:numCache>
            </c:numRef>
          </c:xVal>
          <c:yVal>
            <c:numRef>
              <c:f>'ltms 08062019'!$L$2:$L$11</c:f>
              <c:numCache>
                <c:formatCode>General</c:formatCode>
                <c:ptCount val="10"/>
                <c:pt idx="0">
                  <c:v>47300</c:v>
                </c:pt>
                <c:pt idx="1">
                  <c:v>51900</c:v>
                </c:pt>
                <c:pt idx="2">
                  <c:v>50800</c:v>
                </c:pt>
                <c:pt idx="3">
                  <c:v>43100</c:v>
                </c:pt>
                <c:pt idx="4">
                  <c:v>39600</c:v>
                </c:pt>
                <c:pt idx="5">
                  <c:v>43100</c:v>
                </c:pt>
                <c:pt idx="6">
                  <c:v>55700</c:v>
                </c:pt>
                <c:pt idx="7">
                  <c:v>42800</c:v>
                </c:pt>
                <c:pt idx="8">
                  <c:v>58000</c:v>
                </c:pt>
                <c:pt idx="9">
                  <c:v>51800</c:v>
                </c:pt>
              </c:numCache>
            </c:numRef>
          </c:yVal>
          <c:smooth val="0"/>
        </c:ser>
        <c:dLbls>
          <c:showLegendKey val="0"/>
          <c:showVal val="0"/>
          <c:showCatName val="0"/>
          <c:showSerName val="0"/>
          <c:showPercent val="0"/>
          <c:showBubbleSize val="0"/>
        </c:dLbls>
        <c:axId val="1159538760"/>
        <c:axId val="1159536016"/>
      </c:scatterChart>
      <c:valAx>
        <c:axId val="1159538760"/>
        <c:scaling>
          <c:orientation val="minMax"/>
          <c:max val="20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PVIS, %</a:t>
                </a:r>
              </a:p>
            </c:rich>
          </c:tx>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59536016"/>
        <c:crosses val="autoZero"/>
        <c:crossBetween val="midCat"/>
      </c:valAx>
      <c:valAx>
        <c:axId val="1159536016"/>
        <c:scaling>
          <c:orientation val="minMax"/>
          <c:max val="10000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r>
                  <a:rPr lang="en-US"/>
                  <a:t>MRV, cP</a:t>
                </a:r>
              </a:p>
            </c:rich>
          </c:tx>
          <c:layout/>
          <c:overlay val="0"/>
          <c:spPr>
            <a:noFill/>
            <a:ln>
              <a:noFill/>
            </a:ln>
            <a:effectLst/>
          </c:spPr>
          <c:txPr>
            <a:bodyPr rot="-54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59538760"/>
        <c:crosses val="autoZero"/>
        <c:crossBetween val="midCat"/>
        <c:majorUnit val="20000"/>
        <c:minorUnit val="10000"/>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0"/>
          <c:order val="0"/>
          <c:tx>
            <c:v>Concentrated NO2</c:v>
          </c:tx>
          <c:spPr>
            <a:ln w="25400" cap="rnd">
              <a:noFill/>
              <a:round/>
            </a:ln>
            <a:effectLst/>
          </c:spPr>
          <c:marker>
            <c:symbol val="circle"/>
            <c:size val="3"/>
            <c:spPr>
              <a:solidFill>
                <a:schemeClr val="accent1"/>
              </a:solidFill>
              <a:ln w="9525">
                <a:solidFill>
                  <a:schemeClr val="accent1">
                    <a:alpha val="50000"/>
                  </a:schemeClr>
                </a:solidFill>
              </a:ln>
              <a:effectLst/>
            </c:spPr>
          </c:marker>
          <c:trendline>
            <c:spPr>
              <a:ln w="19050" cap="rnd">
                <a:solidFill>
                  <a:schemeClr val="accent1"/>
                </a:solidFill>
                <a:prstDash val="solid"/>
              </a:ln>
              <a:effectLst/>
            </c:spPr>
            <c:trendlineType val="linear"/>
            <c:dispRSqr val="0"/>
            <c:dispEq val="0"/>
          </c:trendline>
          <c:xVal>
            <c:numRef>
              <c:f>'434-2'!$F$2:$F$95</c:f>
              <c:numCache>
                <c:formatCode>General</c:formatCode>
                <c:ptCount val="94"/>
                <c:pt idx="0">
                  <c:v>107.7</c:v>
                </c:pt>
                <c:pt idx="1">
                  <c:v>115</c:v>
                </c:pt>
                <c:pt idx="2">
                  <c:v>103</c:v>
                </c:pt>
                <c:pt idx="3">
                  <c:v>73.5</c:v>
                </c:pt>
                <c:pt idx="4">
                  <c:v>120.7</c:v>
                </c:pt>
                <c:pt idx="5">
                  <c:v>88.6</c:v>
                </c:pt>
                <c:pt idx="6">
                  <c:v>104.3</c:v>
                </c:pt>
                <c:pt idx="7">
                  <c:v>120.1</c:v>
                </c:pt>
                <c:pt idx="8">
                  <c:v>135.30000000000001</c:v>
                </c:pt>
                <c:pt idx="9">
                  <c:v>113.4</c:v>
                </c:pt>
                <c:pt idx="10">
                  <c:v>100.1</c:v>
                </c:pt>
                <c:pt idx="11">
                  <c:v>97.3</c:v>
                </c:pt>
                <c:pt idx="12">
                  <c:v>126.1</c:v>
                </c:pt>
                <c:pt idx="13">
                  <c:v>51.7</c:v>
                </c:pt>
                <c:pt idx="14">
                  <c:v>118.4</c:v>
                </c:pt>
                <c:pt idx="15">
                  <c:v>99.6</c:v>
                </c:pt>
                <c:pt idx="16">
                  <c:v>135</c:v>
                </c:pt>
                <c:pt idx="17">
                  <c:v>93.2</c:v>
                </c:pt>
                <c:pt idx="18">
                  <c:v>51.5</c:v>
                </c:pt>
                <c:pt idx="19">
                  <c:v>119.3</c:v>
                </c:pt>
                <c:pt idx="20">
                  <c:v>114.2</c:v>
                </c:pt>
                <c:pt idx="21">
                  <c:v>86.8</c:v>
                </c:pt>
                <c:pt idx="22">
                  <c:v>138.6</c:v>
                </c:pt>
                <c:pt idx="23">
                  <c:v>105.9</c:v>
                </c:pt>
                <c:pt idx="24">
                  <c:v>94.2</c:v>
                </c:pt>
                <c:pt idx="25">
                  <c:v>113.3</c:v>
                </c:pt>
                <c:pt idx="26">
                  <c:v>144.9</c:v>
                </c:pt>
                <c:pt idx="27">
                  <c:v>96</c:v>
                </c:pt>
                <c:pt idx="28">
                  <c:v>136.1</c:v>
                </c:pt>
                <c:pt idx="29">
                  <c:v>111.5</c:v>
                </c:pt>
                <c:pt idx="30">
                  <c:v>124.2</c:v>
                </c:pt>
                <c:pt idx="31">
                  <c:v>111.5</c:v>
                </c:pt>
                <c:pt idx="32">
                  <c:v>109.6</c:v>
                </c:pt>
                <c:pt idx="33">
                  <c:v>108.4</c:v>
                </c:pt>
                <c:pt idx="34">
                  <c:v>113.1</c:v>
                </c:pt>
                <c:pt idx="35">
                  <c:v>135.5</c:v>
                </c:pt>
                <c:pt idx="36">
                  <c:v>116</c:v>
                </c:pt>
                <c:pt idx="37">
                  <c:v>108.2</c:v>
                </c:pt>
                <c:pt idx="38">
                  <c:v>97.9</c:v>
                </c:pt>
                <c:pt idx="39">
                  <c:v>161.9</c:v>
                </c:pt>
                <c:pt idx="40">
                  <c:v>108.6</c:v>
                </c:pt>
                <c:pt idx="41">
                  <c:v>134.80000000000001</c:v>
                </c:pt>
                <c:pt idx="42">
                  <c:v>145.1</c:v>
                </c:pt>
                <c:pt idx="43">
                  <c:v>195.1</c:v>
                </c:pt>
                <c:pt idx="44">
                  <c:v>140.19999999999999</c:v>
                </c:pt>
                <c:pt idx="45">
                  <c:v>125</c:v>
                </c:pt>
                <c:pt idx="46">
                  <c:v>114</c:v>
                </c:pt>
                <c:pt idx="47">
                  <c:v>104.2</c:v>
                </c:pt>
                <c:pt idx="48">
                  <c:v>108.6</c:v>
                </c:pt>
                <c:pt idx="49">
                  <c:v>117.5</c:v>
                </c:pt>
                <c:pt idx="50">
                  <c:v>125.4</c:v>
                </c:pt>
                <c:pt idx="51">
                  <c:v>126.6</c:v>
                </c:pt>
                <c:pt idx="52">
                  <c:v>170.6</c:v>
                </c:pt>
                <c:pt idx="53">
                  <c:v>117.7</c:v>
                </c:pt>
                <c:pt idx="54">
                  <c:v>83.8</c:v>
                </c:pt>
                <c:pt idx="55">
                  <c:v>94.6</c:v>
                </c:pt>
                <c:pt idx="56">
                  <c:v>92.2</c:v>
                </c:pt>
                <c:pt idx="57">
                  <c:v>121.3</c:v>
                </c:pt>
                <c:pt idx="58">
                  <c:v>142.4</c:v>
                </c:pt>
                <c:pt idx="59">
                  <c:v>87.1</c:v>
                </c:pt>
                <c:pt idx="60">
                  <c:v>95.4</c:v>
                </c:pt>
                <c:pt idx="61">
                  <c:v>114.6</c:v>
                </c:pt>
                <c:pt idx="62">
                  <c:v>135.5</c:v>
                </c:pt>
                <c:pt idx="63">
                  <c:v>146.1</c:v>
                </c:pt>
                <c:pt idx="64">
                  <c:v>132</c:v>
                </c:pt>
                <c:pt idx="65">
                  <c:v>162.5</c:v>
                </c:pt>
                <c:pt idx="66">
                  <c:v>120.8</c:v>
                </c:pt>
                <c:pt idx="67">
                  <c:v>111.7</c:v>
                </c:pt>
                <c:pt idx="68">
                  <c:v>114.4</c:v>
                </c:pt>
                <c:pt idx="69">
                  <c:v>172.4</c:v>
                </c:pt>
                <c:pt idx="70">
                  <c:v>143.9</c:v>
                </c:pt>
                <c:pt idx="71">
                  <c:v>139</c:v>
                </c:pt>
                <c:pt idx="72">
                  <c:v>167.9</c:v>
                </c:pt>
                <c:pt idx="73">
                  <c:v>116</c:v>
                </c:pt>
                <c:pt idx="74">
                  <c:v>118.2</c:v>
                </c:pt>
                <c:pt idx="75">
                  <c:v>107.8</c:v>
                </c:pt>
                <c:pt idx="76">
                  <c:v>152.4</c:v>
                </c:pt>
                <c:pt idx="77">
                  <c:v>107.6</c:v>
                </c:pt>
                <c:pt idx="78">
                  <c:v>108.7</c:v>
                </c:pt>
                <c:pt idx="79">
                  <c:v>130.80000000000001</c:v>
                </c:pt>
                <c:pt idx="80">
                  <c:v>194.9</c:v>
                </c:pt>
                <c:pt idx="81">
                  <c:v>152.9</c:v>
                </c:pt>
                <c:pt idx="82">
                  <c:v>52.5</c:v>
                </c:pt>
                <c:pt idx="83">
                  <c:v>168.7</c:v>
                </c:pt>
                <c:pt idx="84">
                  <c:v>162.69999999999999</c:v>
                </c:pt>
                <c:pt idx="85">
                  <c:v>115.1</c:v>
                </c:pt>
                <c:pt idx="86">
                  <c:v>164.1</c:v>
                </c:pt>
                <c:pt idx="87">
                  <c:v>143.69999999999999</c:v>
                </c:pt>
                <c:pt idx="88">
                  <c:v>79.599999999999994</c:v>
                </c:pt>
                <c:pt idx="89">
                  <c:v>93.5</c:v>
                </c:pt>
                <c:pt idx="90">
                  <c:v>114.4</c:v>
                </c:pt>
                <c:pt idx="91">
                  <c:v>104.4</c:v>
                </c:pt>
                <c:pt idx="92">
                  <c:v>85.4</c:v>
                </c:pt>
                <c:pt idx="93">
                  <c:v>144</c:v>
                </c:pt>
              </c:numCache>
            </c:numRef>
          </c:xVal>
          <c:yVal>
            <c:numRef>
              <c:f>'434-2'!$I$2:$I$95</c:f>
              <c:numCache>
                <c:formatCode>General</c:formatCode>
                <c:ptCount val="94"/>
                <c:pt idx="0">
                  <c:v>39000</c:v>
                </c:pt>
                <c:pt idx="1">
                  <c:v>54800</c:v>
                </c:pt>
                <c:pt idx="2">
                  <c:v>41900</c:v>
                </c:pt>
                <c:pt idx="3">
                  <c:v>31300</c:v>
                </c:pt>
                <c:pt idx="4">
                  <c:v>51500</c:v>
                </c:pt>
                <c:pt idx="5">
                  <c:v>39200</c:v>
                </c:pt>
                <c:pt idx="6">
                  <c:v>45500</c:v>
                </c:pt>
                <c:pt idx="7">
                  <c:v>49900</c:v>
                </c:pt>
                <c:pt idx="8">
                  <c:v>60200</c:v>
                </c:pt>
                <c:pt idx="9">
                  <c:v>47300</c:v>
                </c:pt>
                <c:pt idx="10">
                  <c:v>47200</c:v>
                </c:pt>
                <c:pt idx="11">
                  <c:v>40900</c:v>
                </c:pt>
                <c:pt idx="12">
                  <c:v>53100</c:v>
                </c:pt>
                <c:pt idx="13">
                  <c:v>22400</c:v>
                </c:pt>
                <c:pt idx="14">
                  <c:v>53200</c:v>
                </c:pt>
                <c:pt idx="15">
                  <c:v>48000</c:v>
                </c:pt>
                <c:pt idx="16">
                  <c:v>89000</c:v>
                </c:pt>
                <c:pt idx="17">
                  <c:v>41600</c:v>
                </c:pt>
                <c:pt idx="18">
                  <c:v>20700</c:v>
                </c:pt>
                <c:pt idx="19">
                  <c:v>48400</c:v>
                </c:pt>
                <c:pt idx="20">
                  <c:v>48100</c:v>
                </c:pt>
                <c:pt idx="21">
                  <c:v>36100</c:v>
                </c:pt>
                <c:pt idx="22">
                  <c:v>58800</c:v>
                </c:pt>
                <c:pt idx="23">
                  <c:v>47400</c:v>
                </c:pt>
                <c:pt idx="24">
                  <c:v>37400</c:v>
                </c:pt>
                <c:pt idx="25">
                  <c:v>42800</c:v>
                </c:pt>
                <c:pt idx="26">
                  <c:v>70100</c:v>
                </c:pt>
                <c:pt idx="27">
                  <c:v>40800</c:v>
                </c:pt>
                <c:pt idx="28">
                  <c:v>58400</c:v>
                </c:pt>
                <c:pt idx="29">
                  <c:v>44300</c:v>
                </c:pt>
                <c:pt idx="30">
                  <c:v>53700</c:v>
                </c:pt>
                <c:pt idx="31">
                  <c:v>46100</c:v>
                </c:pt>
                <c:pt idx="32">
                  <c:v>45500</c:v>
                </c:pt>
                <c:pt idx="33">
                  <c:v>44500</c:v>
                </c:pt>
                <c:pt idx="34">
                  <c:v>47200</c:v>
                </c:pt>
                <c:pt idx="35">
                  <c:v>60100</c:v>
                </c:pt>
                <c:pt idx="36">
                  <c:v>45800</c:v>
                </c:pt>
                <c:pt idx="37">
                  <c:v>48000</c:v>
                </c:pt>
                <c:pt idx="38">
                  <c:v>40700</c:v>
                </c:pt>
                <c:pt idx="39">
                  <c:v>62300</c:v>
                </c:pt>
                <c:pt idx="40">
                  <c:v>48616</c:v>
                </c:pt>
                <c:pt idx="41">
                  <c:v>56600</c:v>
                </c:pt>
                <c:pt idx="42">
                  <c:v>64000</c:v>
                </c:pt>
                <c:pt idx="43">
                  <c:v>79200</c:v>
                </c:pt>
                <c:pt idx="44">
                  <c:v>64500</c:v>
                </c:pt>
                <c:pt idx="45">
                  <c:v>52000</c:v>
                </c:pt>
                <c:pt idx="46">
                  <c:v>42400</c:v>
                </c:pt>
                <c:pt idx="47">
                  <c:v>45200</c:v>
                </c:pt>
                <c:pt idx="48">
                  <c:v>42100</c:v>
                </c:pt>
                <c:pt idx="49">
                  <c:v>47800</c:v>
                </c:pt>
                <c:pt idx="50">
                  <c:v>52500</c:v>
                </c:pt>
                <c:pt idx="51">
                  <c:v>55100</c:v>
                </c:pt>
                <c:pt idx="52">
                  <c:v>54036</c:v>
                </c:pt>
                <c:pt idx="53">
                  <c:v>47000</c:v>
                </c:pt>
                <c:pt idx="54">
                  <c:v>40200</c:v>
                </c:pt>
                <c:pt idx="55">
                  <c:v>40300</c:v>
                </c:pt>
                <c:pt idx="56">
                  <c:v>42200</c:v>
                </c:pt>
                <c:pt idx="57">
                  <c:v>49600</c:v>
                </c:pt>
                <c:pt idx="58">
                  <c:v>65900</c:v>
                </c:pt>
                <c:pt idx="59">
                  <c:v>38000</c:v>
                </c:pt>
                <c:pt idx="60">
                  <c:v>43400</c:v>
                </c:pt>
                <c:pt idx="61">
                  <c:v>48100</c:v>
                </c:pt>
                <c:pt idx="62">
                  <c:v>51369</c:v>
                </c:pt>
                <c:pt idx="63">
                  <c:v>60700</c:v>
                </c:pt>
                <c:pt idx="64">
                  <c:v>56000</c:v>
                </c:pt>
                <c:pt idx="65">
                  <c:v>73300</c:v>
                </c:pt>
                <c:pt idx="66">
                  <c:v>52800</c:v>
                </c:pt>
                <c:pt idx="67">
                  <c:v>47800</c:v>
                </c:pt>
                <c:pt idx="68">
                  <c:v>43200</c:v>
                </c:pt>
                <c:pt idx="69">
                  <c:v>67700</c:v>
                </c:pt>
                <c:pt idx="70">
                  <c:v>59200</c:v>
                </c:pt>
                <c:pt idx="71">
                  <c:v>57900</c:v>
                </c:pt>
                <c:pt idx="72">
                  <c:v>67600</c:v>
                </c:pt>
                <c:pt idx="73">
                  <c:v>49400</c:v>
                </c:pt>
                <c:pt idx="74">
                  <c:v>48400</c:v>
                </c:pt>
                <c:pt idx="75">
                  <c:v>46700</c:v>
                </c:pt>
                <c:pt idx="76">
                  <c:v>60500</c:v>
                </c:pt>
                <c:pt idx="77">
                  <c:v>44900</c:v>
                </c:pt>
                <c:pt idx="78">
                  <c:v>46200</c:v>
                </c:pt>
                <c:pt idx="79">
                  <c:v>58300</c:v>
                </c:pt>
                <c:pt idx="80">
                  <c:v>90200</c:v>
                </c:pt>
                <c:pt idx="81">
                  <c:v>71000</c:v>
                </c:pt>
                <c:pt idx="82">
                  <c:v>25627</c:v>
                </c:pt>
                <c:pt idx="83">
                  <c:v>70600</c:v>
                </c:pt>
                <c:pt idx="84">
                  <c:v>64800</c:v>
                </c:pt>
                <c:pt idx="85">
                  <c:v>53300</c:v>
                </c:pt>
                <c:pt idx="86">
                  <c:v>77200</c:v>
                </c:pt>
                <c:pt idx="87">
                  <c:v>66200</c:v>
                </c:pt>
                <c:pt idx="88">
                  <c:v>37200</c:v>
                </c:pt>
                <c:pt idx="89">
                  <c:v>37942</c:v>
                </c:pt>
                <c:pt idx="90">
                  <c:v>51200</c:v>
                </c:pt>
                <c:pt idx="91">
                  <c:v>49000</c:v>
                </c:pt>
                <c:pt idx="92">
                  <c:v>38700</c:v>
                </c:pt>
                <c:pt idx="93">
                  <c:v>64900</c:v>
                </c:pt>
              </c:numCache>
            </c:numRef>
          </c:yVal>
          <c:smooth val="0"/>
        </c:ser>
        <c:ser>
          <c:idx val="1"/>
          <c:order val="1"/>
          <c:tx>
            <c:v>Dilute NO2</c:v>
          </c:tx>
          <c:spPr>
            <a:ln w="25400" cap="rnd">
              <a:noFill/>
              <a:round/>
            </a:ln>
            <a:effectLst/>
          </c:spPr>
          <c:marker>
            <c:symbol val="x"/>
            <c:size val="9"/>
            <c:spPr>
              <a:solidFill>
                <a:schemeClr val="accent2"/>
              </a:solidFill>
              <a:ln w="9525">
                <a:solidFill>
                  <a:schemeClr val="accent2"/>
                </a:solidFill>
              </a:ln>
              <a:effectLst/>
            </c:spPr>
          </c:marker>
          <c:dPt>
            <c:idx val="2"/>
            <c:marker>
              <c:symbol val="x"/>
              <c:size val="9"/>
              <c:spPr>
                <a:solidFill>
                  <a:schemeClr val="accent2"/>
                </a:solidFill>
                <a:ln w="9525">
                  <a:solidFill>
                    <a:schemeClr val="accent6"/>
                  </a:solidFill>
                </a:ln>
                <a:effectLst/>
              </c:spPr>
            </c:marker>
            <c:bubble3D val="0"/>
            <c:spPr>
              <a:ln w="25400" cap="rnd">
                <a:noFill/>
                <a:round/>
              </a:ln>
              <a:effectLst/>
            </c:spPr>
          </c:dPt>
          <c:xVal>
            <c:numRef>
              <c:f>'434-2'!$P$2:$P$6</c:f>
              <c:numCache>
                <c:formatCode>0.0</c:formatCode>
                <c:ptCount val="5"/>
                <c:pt idx="0">
                  <c:v>144.26362896663954</c:v>
                </c:pt>
                <c:pt idx="1">
                  <c:v>151.01280181494084</c:v>
                </c:pt>
                <c:pt idx="2" formatCode="General">
                  <c:v>117.5</c:v>
                </c:pt>
                <c:pt idx="3" formatCode="General">
                  <c:v>105.4</c:v>
                </c:pt>
                <c:pt idx="4" formatCode="General">
                  <c:v>178.7</c:v>
                </c:pt>
              </c:numCache>
            </c:numRef>
          </c:xVal>
          <c:yVal>
            <c:numRef>
              <c:f>'434-2'!$S$2:$S$6</c:f>
              <c:numCache>
                <c:formatCode>#,##0</c:formatCode>
                <c:ptCount val="5"/>
                <c:pt idx="0">
                  <c:v>65100</c:v>
                </c:pt>
                <c:pt idx="1">
                  <c:v>65500</c:v>
                </c:pt>
                <c:pt idx="2" formatCode="General">
                  <c:v>50900</c:v>
                </c:pt>
                <c:pt idx="3" formatCode="General">
                  <c:v>43100</c:v>
                </c:pt>
                <c:pt idx="4" formatCode="General">
                  <c:v>76700</c:v>
                </c:pt>
              </c:numCache>
            </c:numRef>
          </c:yVal>
          <c:smooth val="0"/>
        </c:ser>
        <c:dLbls>
          <c:showLegendKey val="0"/>
          <c:showVal val="0"/>
          <c:showCatName val="0"/>
          <c:showSerName val="0"/>
          <c:showPercent val="0"/>
          <c:showBubbleSize val="0"/>
        </c:dLbls>
        <c:axId val="1159532096"/>
        <c:axId val="1159540720"/>
      </c:scatterChart>
      <c:valAx>
        <c:axId val="1159532096"/>
        <c:scaling>
          <c:orientation val="minMax"/>
          <c:max val="200"/>
          <c:min val="75"/>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pVIS, %</a:t>
                </a:r>
              </a:p>
            </c:rich>
          </c:tx>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59540720"/>
        <c:crosses val="autoZero"/>
        <c:crossBetween val="midCat"/>
        <c:majorUnit val="25"/>
      </c:valAx>
      <c:valAx>
        <c:axId val="1159540720"/>
        <c:scaling>
          <c:orientation val="minMax"/>
          <c:max val="100000"/>
          <c:min val="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MRV, mPa•s</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59532096"/>
        <c:crosses val="autoZero"/>
        <c:crossBetween val="midCat"/>
        <c:majorUnit val="10000"/>
        <c:minorUnit val="5000"/>
      </c:valAx>
      <c:spPr>
        <a:noFill/>
        <a:ln>
          <a:noFill/>
        </a:ln>
        <a:effectLst/>
      </c:spPr>
    </c:plotArea>
    <c:plotVisOnly val="1"/>
    <c:dispBlanksAs val="gap"/>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
          <c:order val="0"/>
          <c:tx>
            <c:v>Dilute NO2</c:v>
          </c:tx>
          <c:spPr>
            <a:ln w="25400" cap="rnd">
              <a:noFill/>
              <a:round/>
            </a:ln>
            <a:effectLst/>
          </c:spPr>
          <c:marker>
            <c:symbol val="x"/>
            <c:size val="9"/>
            <c:spPr>
              <a:solidFill>
                <a:schemeClr val="accent2"/>
              </a:solidFill>
              <a:ln w="9525">
                <a:solidFill>
                  <a:schemeClr val="accent2"/>
                </a:solidFill>
              </a:ln>
              <a:effectLst/>
            </c:spPr>
          </c:marker>
          <c:dPt>
            <c:idx val="2"/>
            <c:marker>
              <c:symbol val="x"/>
              <c:size val="9"/>
              <c:spPr>
                <a:solidFill>
                  <a:schemeClr val="accent2"/>
                </a:solidFill>
                <a:ln w="9525">
                  <a:solidFill>
                    <a:schemeClr val="accent2"/>
                  </a:solidFill>
                </a:ln>
                <a:effectLst/>
              </c:spPr>
            </c:marker>
            <c:bubble3D val="0"/>
            <c:spPr>
              <a:ln w="25400" cap="rnd">
                <a:noFill/>
                <a:round/>
              </a:ln>
              <a:effectLst/>
            </c:spPr>
          </c:dPt>
          <c:xVal>
            <c:numRef>
              <c:f>'438'!$P$2:$P$7</c:f>
              <c:numCache>
                <c:formatCode>0.0</c:formatCode>
                <c:ptCount val="6"/>
                <c:pt idx="0">
                  <c:v>197.02162382700934</c:v>
                </c:pt>
                <c:pt idx="1">
                  <c:v>156.47826974086919</c:v>
                </c:pt>
                <c:pt idx="2" formatCode="General">
                  <c:v>144.9</c:v>
                </c:pt>
                <c:pt idx="3" formatCode="General">
                  <c:v>189.7</c:v>
                </c:pt>
                <c:pt idx="4" formatCode="General">
                  <c:v>229.1</c:v>
                </c:pt>
                <c:pt idx="5" formatCode="General">
                  <c:v>160.69999999999999</c:v>
                </c:pt>
              </c:numCache>
            </c:numRef>
          </c:xVal>
          <c:yVal>
            <c:numRef>
              <c:f>'438'!$S$2:$S$7</c:f>
              <c:numCache>
                <c:formatCode>#,##0</c:formatCode>
                <c:ptCount val="6"/>
                <c:pt idx="0">
                  <c:v>51000</c:v>
                </c:pt>
                <c:pt idx="1">
                  <c:v>34500</c:v>
                </c:pt>
                <c:pt idx="2" formatCode="General">
                  <c:v>32900</c:v>
                </c:pt>
                <c:pt idx="3" formatCode="General">
                  <c:v>40800</c:v>
                </c:pt>
                <c:pt idx="4" formatCode="General">
                  <c:v>63200</c:v>
                </c:pt>
                <c:pt idx="5" formatCode="General">
                  <c:v>35200</c:v>
                </c:pt>
              </c:numCache>
            </c:numRef>
          </c:yVal>
          <c:smooth val="0"/>
        </c:ser>
        <c:ser>
          <c:idx val="0"/>
          <c:order val="1"/>
          <c:tx>
            <c:v>Concentrated NO2</c:v>
          </c:tx>
          <c:spPr>
            <a:ln w="25400" cap="rnd">
              <a:noFill/>
              <a:round/>
            </a:ln>
            <a:effectLst/>
          </c:spPr>
          <c:marker>
            <c:symbol val="circle"/>
            <c:size val="3"/>
            <c:spPr>
              <a:solidFill>
                <a:schemeClr val="accent1"/>
              </a:solidFill>
              <a:ln w="9525">
                <a:solidFill>
                  <a:schemeClr val="accent1">
                    <a:alpha val="50000"/>
                  </a:schemeClr>
                </a:solidFill>
              </a:ln>
              <a:effectLst/>
            </c:spPr>
          </c:marker>
          <c:trendline>
            <c:spPr>
              <a:ln w="19050" cap="rnd">
                <a:solidFill>
                  <a:schemeClr val="accent1"/>
                </a:solidFill>
                <a:prstDash val="solid"/>
              </a:ln>
              <a:effectLst/>
            </c:spPr>
            <c:trendlineType val="linear"/>
            <c:intercept val="0"/>
            <c:dispRSqr val="1"/>
            <c:dispEq val="0"/>
            <c:trendlineLbl>
              <c:layout>
                <c:manualLayout>
                  <c:x val="-6.3007075342701488E-2"/>
                  <c:y val="-1.9778351644141667E-2"/>
                </c:manualLayout>
              </c:layout>
              <c:numFmt formatCode="General" sourceLinked="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trendlineLbl>
          </c:trendline>
          <c:xVal>
            <c:numRef>
              <c:f>'438'!$F$2:$F$422</c:f>
              <c:numCache>
                <c:formatCode>General</c:formatCode>
                <c:ptCount val="421"/>
                <c:pt idx="0">
                  <c:v>124.2</c:v>
                </c:pt>
                <c:pt idx="1">
                  <c:v>104.1</c:v>
                </c:pt>
                <c:pt idx="2">
                  <c:v>133</c:v>
                </c:pt>
                <c:pt idx="3">
                  <c:v>106.8</c:v>
                </c:pt>
                <c:pt idx="4">
                  <c:v>135.5</c:v>
                </c:pt>
                <c:pt idx="5">
                  <c:v>94.5</c:v>
                </c:pt>
                <c:pt idx="6">
                  <c:v>181</c:v>
                </c:pt>
                <c:pt idx="7">
                  <c:v>89.6</c:v>
                </c:pt>
                <c:pt idx="8">
                  <c:v>102.2</c:v>
                </c:pt>
                <c:pt idx="9">
                  <c:v>127.6</c:v>
                </c:pt>
                <c:pt idx="10">
                  <c:v>126</c:v>
                </c:pt>
                <c:pt idx="11">
                  <c:v>174.9</c:v>
                </c:pt>
                <c:pt idx="12">
                  <c:v>173.2</c:v>
                </c:pt>
                <c:pt idx="13">
                  <c:v>150.80000000000001</c:v>
                </c:pt>
                <c:pt idx="14">
                  <c:v>316.39999999999998</c:v>
                </c:pt>
                <c:pt idx="15">
                  <c:v>137.30000000000001</c:v>
                </c:pt>
                <c:pt idx="16">
                  <c:v>98.6</c:v>
                </c:pt>
                <c:pt idx="17">
                  <c:v>104.8</c:v>
                </c:pt>
                <c:pt idx="18">
                  <c:v>73.8</c:v>
                </c:pt>
                <c:pt idx="19">
                  <c:v>91.6</c:v>
                </c:pt>
                <c:pt idx="20">
                  <c:v>117.2</c:v>
                </c:pt>
                <c:pt idx="21">
                  <c:v>162</c:v>
                </c:pt>
                <c:pt idx="22">
                  <c:v>94.3</c:v>
                </c:pt>
                <c:pt idx="23">
                  <c:v>113.4</c:v>
                </c:pt>
                <c:pt idx="24">
                  <c:v>116.7</c:v>
                </c:pt>
                <c:pt idx="25">
                  <c:v>63</c:v>
                </c:pt>
                <c:pt idx="26">
                  <c:v>144.5</c:v>
                </c:pt>
                <c:pt idx="27">
                  <c:v>121.5</c:v>
                </c:pt>
                <c:pt idx="28">
                  <c:v>73.8</c:v>
                </c:pt>
                <c:pt idx="29">
                  <c:v>86.8</c:v>
                </c:pt>
                <c:pt idx="30">
                  <c:v>81.3</c:v>
                </c:pt>
                <c:pt idx="31">
                  <c:v>75.3</c:v>
                </c:pt>
                <c:pt idx="32">
                  <c:v>122.2</c:v>
                </c:pt>
                <c:pt idx="33">
                  <c:v>598.70000000000005</c:v>
                </c:pt>
                <c:pt idx="34">
                  <c:v>208.7</c:v>
                </c:pt>
                <c:pt idx="35">
                  <c:v>129</c:v>
                </c:pt>
                <c:pt idx="36">
                  <c:v>100</c:v>
                </c:pt>
                <c:pt idx="37">
                  <c:v>88.6</c:v>
                </c:pt>
                <c:pt idx="38">
                  <c:v>98</c:v>
                </c:pt>
                <c:pt idx="39">
                  <c:v>134.69999999999999</c:v>
                </c:pt>
                <c:pt idx="40">
                  <c:v>137.30000000000001</c:v>
                </c:pt>
                <c:pt idx="41">
                  <c:v>123.1</c:v>
                </c:pt>
                <c:pt idx="42">
                  <c:v>100.6</c:v>
                </c:pt>
                <c:pt idx="43">
                  <c:v>124.4</c:v>
                </c:pt>
                <c:pt idx="44">
                  <c:v>94.6</c:v>
                </c:pt>
                <c:pt idx="45">
                  <c:v>98.6</c:v>
                </c:pt>
                <c:pt idx="46">
                  <c:v>94.5</c:v>
                </c:pt>
                <c:pt idx="47">
                  <c:v>235</c:v>
                </c:pt>
                <c:pt idx="48">
                  <c:v>93.8</c:v>
                </c:pt>
                <c:pt idx="49">
                  <c:v>129.5</c:v>
                </c:pt>
                <c:pt idx="50">
                  <c:v>59.2</c:v>
                </c:pt>
                <c:pt idx="51">
                  <c:v>151.5</c:v>
                </c:pt>
                <c:pt idx="52">
                  <c:v>191.6</c:v>
                </c:pt>
                <c:pt idx="53">
                  <c:v>80.7</c:v>
                </c:pt>
                <c:pt idx="54">
                  <c:v>219.4</c:v>
                </c:pt>
                <c:pt idx="55">
                  <c:v>153.6</c:v>
                </c:pt>
                <c:pt idx="56">
                  <c:v>173</c:v>
                </c:pt>
                <c:pt idx="57">
                  <c:v>125.5</c:v>
                </c:pt>
                <c:pt idx="58">
                  <c:v>101.4</c:v>
                </c:pt>
                <c:pt idx="59">
                  <c:v>90</c:v>
                </c:pt>
                <c:pt idx="60">
                  <c:v>116.9</c:v>
                </c:pt>
                <c:pt idx="61">
                  <c:v>158.1</c:v>
                </c:pt>
                <c:pt idx="62">
                  <c:v>112</c:v>
                </c:pt>
                <c:pt idx="63">
                  <c:v>109.4</c:v>
                </c:pt>
                <c:pt idx="64">
                  <c:v>101.4</c:v>
                </c:pt>
                <c:pt idx="65">
                  <c:v>124.4</c:v>
                </c:pt>
                <c:pt idx="66">
                  <c:v>110.2</c:v>
                </c:pt>
                <c:pt idx="67">
                  <c:v>86.7</c:v>
                </c:pt>
                <c:pt idx="68">
                  <c:v>268.39999999999998</c:v>
                </c:pt>
                <c:pt idx="69">
                  <c:v>78.900000000000006</c:v>
                </c:pt>
                <c:pt idx="70">
                  <c:v>122.4</c:v>
                </c:pt>
                <c:pt idx="71">
                  <c:v>111.2</c:v>
                </c:pt>
                <c:pt idx="72">
                  <c:v>98</c:v>
                </c:pt>
                <c:pt idx="73">
                  <c:v>159.1</c:v>
                </c:pt>
                <c:pt idx="74">
                  <c:v>154.19999999999999</c:v>
                </c:pt>
                <c:pt idx="75">
                  <c:v>108.2</c:v>
                </c:pt>
                <c:pt idx="76">
                  <c:v>101.8</c:v>
                </c:pt>
                <c:pt idx="77">
                  <c:v>102.1</c:v>
                </c:pt>
                <c:pt idx="78">
                  <c:v>101.1</c:v>
                </c:pt>
                <c:pt idx="79">
                  <c:v>89.9</c:v>
                </c:pt>
                <c:pt idx="80">
                  <c:v>89</c:v>
                </c:pt>
                <c:pt idx="81">
                  <c:v>181.8</c:v>
                </c:pt>
                <c:pt idx="82">
                  <c:v>91.4</c:v>
                </c:pt>
                <c:pt idx="83">
                  <c:v>83.5</c:v>
                </c:pt>
                <c:pt idx="84">
                  <c:v>84.6</c:v>
                </c:pt>
                <c:pt idx="85">
                  <c:v>119.7</c:v>
                </c:pt>
                <c:pt idx="86">
                  <c:v>125.1</c:v>
                </c:pt>
                <c:pt idx="87">
                  <c:v>149.6</c:v>
                </c:pt>
                <c:pt idx="88">
                  <c:v>126.7</c:v>
                </c:pt>
                <c:pt idx="89">
                  <c:v>161.30000000000001</c:v>
                </c:pt>
                <c:pt idx="90">
                  <c:v>122.2</c:v>
                </c:pt>
                <c:pt idx="91">
                  <c:v>124.7</c:v>
                </c:pt>
                <c:pt idx="92">
                  <c:v>133.19999999999999</c:v>
                </c:pt>
                <c:pt idx="93">
                  <c:v>129.9</c:v>
                </c:pt>
                <c:pt idx="94">
                  <c:v>101.8</c:v>
                </c:pt>
                <c:pt idx="95">
                  <c:v>145.30000000000001</c:v>
                </c:pt>
                <c:pt idx="96">
                  <c:v>80.400000000000006</c:v>
                </c:pt>
                <c:pt idx="97">
                  <c:v>135.9</c:v>
                </c:pt>
                <c:pt idx="98">
                  <c:v>88.3</c:v>
                </c:pt>
                <c:pt idx="99">
                  <c:v>127</c:v>
                </c:pt>
                <c:pt idx="100">
                  <c:v>118</c:v>
                </c:pt>
                <c:pt idx="101">
                  <c:v>96.8</c:v>
                </c:pt>
                <c:pt idx="102">
                  <c:v>142.69999999999999</c:v>
                </c:pt>
                <c:pt idx="103">
                  <c:v>164.3</c:v>
                </c:pt>
                <c:pt idx="104">
                  <c:v>104.9</c:v>
                </c:pt>
                <c:pt idx="105">
                  <c:v>84.9</c:v>
                </c:pt>
                <c:pt idx="106">
                  <c:v>131.5</c:v>
                </c:pt>
                <c:pt idx="107">
                  <c:v>135.19999999999999</c:v>
                </c:pt>
                <c:pt idx="108">
                  <c:v>70</c:v>
                </c:pt>
                <c:pt idx="109">
                  <c:v>60</c:v>
                </c:pt>
                <c:pt idx="110">
                  <c:v>148.5</c:v>
                </c:pt>
                <c:pt idx="111">
                  <c:v>101</c:v>
                </c:pt>
                <c:pt idx="112">
                  <c:v>146.6</c:v>
                </c:pt>
                <c:pt idx="113">
                  <c:v>107.7</c:v>
                </c:pt>
                <c:pt idx="114">
                  <c:v>79.599999999999994</c:v>
                </c:pt>
                <c:pt idx="115">
                  <c:v>124.8</c:v>
                </c:pt>
                <c:pt idx="116">
                  <c:v>61.9</c:v>
                </c:pt>
                <c:pt idx="117">
                  <c:v>68.2</c:v>
                </c:pt>
                <c:pt idx="118">
                  <c:v>127.5</c:v>
                </c:pt>
                <c:pt idx="119">
                  <c:v>186.3</c:v>
                </c:pt>
                <c:pt idx="120">
                  <c:v>178.9</c:v>
                </c:pt>
                <c:pt idx="121">
                  <c:v>129.1</c:v>
                </c:pt>
                <c:pt idx="122">
                  <c:v>92.8</c:v>
                </c:pt>
                <c:pt idx="123">
                  <c:v>135.4</c:v>
                </c:pt>
                <c:pt idx="124">
                  <c:v>141.5</c:v>
                </c:pt>
                <c:pt idx="125">
                  <c:v>120.2</c:v>
                </c:pt>
                <c:pt idx="126">
                  <c:v>106.7</c:v>
                </c:pt>
                <c:pt idx="127">
                  <c:v>156.6</c:v>
                </c:pt>
                <c:pt idx="128">
                  <c:v>79.8</c:v>
                </c:pt>
                <c:pt idx="129">
                  <c:v>83.3</c:v>
                </c:pt>
                <c:pt idx="130">
                  <c:v>103.3</c:v>
                </c:pt>
                <c:pt idx="131">
                  <c:v>104.9</c:v>
                </c:pt>
                <c:pt idx="132">
                  <c:v>101.6</c:v>
                </c:pt>
                <c:pt idx="133">
                  <c:v>163.5</c:v>
                </c:pt>
                <c:pt idx="134">
                  <c:v>146.80000000000001</c:v>
                </c:pt>
                <c:pt idx="135">
                  <c:v>94.7</c:v>
                </c:pt>
                <c:pt idx="136">
                  <c:v>138.19999999999999</c:v>
                </c:pt>
                <c:pt idx="137">
                  <c:v>84.5</c:v>
                </c:pt>
                <c:pt idx="138">
                  <c:v>136.1</c:v>
                </c:pt>
                <c:pt idx="139">
                  <c:v>95.4</c:v>
                </c:pt>
                <c:pt idx="140">
                  <c:v>127.2</c:v>
                </c:pt>
                <c:pt idx="141">
                  <c:v>123.5</c:v>
                </c:pt>
                <c:pt idx="142">
                  <c:v>88.5</c:v>
                </c:pt>
                <c:pt idx="143">
                  <c:v>164.2</c:v>
                </c:pt>
                <c:pt idx="144">
                  <c:v>77.3</c:v>
                </c:pt>
                <c:pt idx="145">
                  <c:v>106.5</c:v>
                </c:pt>
                <c:pt idx="146">
                  <c:v>147.4</c:v>
                </c:pt>
                <c:pt idx="147">
                  <c:v>82.8</c:v>
                </c:pt>
                <c:pt idx="148">
                  <c:v>109.5</c:v>
                </c:pt>
                <c:pt idx="149">
                  <c:v>95.9</c:v>
                </c:pt>
                <c:pt idx="150">
                  <c:v>116.1</c:v>
                </c:pt>
                <c:pt idx="151">
                  <c:v>91.7</c:v>
                </c:pt>
                <c:pt idx="152">
                  <c:v>82.4</c:v>
                </c:pt>
                <c:pt idx="153">
                  <c:v>131.80000000000001</c:v>
                </c:pt>
                <c:pt idx="154">
                  <c:v>122.6</c:v>
                </c:pt>
                <c:pt idx="155">
                  <c:v>138</c:v>
                </c:pt>
                <c:pt idx="156">
                  <c:v>81.2</c:v>
                </c:pt>
                <c:pt idx="157">
                  <c:v>104</c:v>
                </c:pt>
                <c:pt idx="158">
                  <c:v>103.2</c:v>
                </c:pt>
                <c:pt idx="159">
                  <c:v>86.7</c:v>
                </c:pt>
                <c:pt idx="160">
                  <c:v>100</c:v>
                </c:pt>
                <c:pt idx="161">
                  <c:v>96.4</c:v>
                </c:pt>
                <c:pt idx="162">
                  <c:v>104.9</c:v>
                </c:pt>
                <c:pt idx="163">
                  <c:v>111.1</c:v>
                </c:pt>
                <c:pt idx="164">
                  <c:v>91.1</c:v>
                </c:pt>
                <c:pt idx="165">
                  <c:v>84.9</c:v>
                </c:pt>
                <c:pt idx="166">
                  <c:v>85.2</c:v>
                </c:pt>
                <c:pt idx="167">
                  <c:v>118</c:v>
                </c:pt>
                <c:pt idx="168">
                  <c:v>212.1</c:v>
                </c:pt>
                <c:pt idx="169">
                  <c:v>110.3</c:v>
                </c:pt>
                <c:pt idx="170">
                  <c:v>126.1</c:v>
                </c:pt>
                <c:pt idx="171">
                  <c:v>120.5</c:v>
                </c:pt>
                <c:pt idx="172">
                  <c:v>86.7</c:v>
                </c:pt>
                <c:pt idx="173">
                  <c:v>127.6</c:v>
                </c:pt>
                <c:pt idx="174">
                  <c:v>131.80000000000001</c:v>
                </c:pt>
                <c:pt idx="175">
                  <c:v>93.7</c:v>
                </c:pt>
                <c:pt idx="176">
                  <c:v>57.8</c:v>
                </c:pt>
                <c:pt idx="177">
                  <c:v>95.6</c:v>
                </c:pt>
                <c:pt idx="178">
                  <c:v>107.5</c:v>
                </c:pt>
                <c:pt idx="179">
                  <c:v>112</c:v>
                </c:pt>
                <c:pt idx="180">
                  <c:v>117.4</c:v>
                </c:pt>
                <c:pt idx="181">
                  <c:v>223.8</c:v>
                </c:pt>
                <c:pt idx="182">
                  <c:v>146.69999999999999</c:v>
                </c:pt>
                <c:pt idx="183">
                  <c:v>60.5</c:v>
                </c:pt>
                <c:pt idx="184">
                  <c:v>122.2</c:v>
                </c:pt>
                <c:pt idx="185">
                  <c:v>252.7</c:v>
                </c:pt>
                <c:pt idx="186">
                  <c:v>113.5</c:v>
                </c:pt>
                <c:pt idx="187">
                  <c:v>91.5</c:v>
                </c:pt>
                <c:pt idx="188">
                  <c:v>144</c:v>
                </c:pt>
                <c:pt idx="189">
                  <c:v>107.1</c:v>
                </c:pt>
                <c:pt idx="190">
                  <c:v>91.7</c:v>
                </c:pt>
                <c:pt idx="191">
                  <c:v>230.1</c:v>
                </c:pt>
                <c:pt idx="192">
                  <c:v>107.2</c:v>
                </c:pt>
                <c:pt idx="193">
                  <c:v>146.5</c:v>
                </c:pt>
                <c:pt idx="194">
                  <c:v>103.8</c:v>
                </c:pt>
                <c:pt idx="195">
                  <c:v>170</c:v>
                </c:pt>
                <c:pt idx="196">
                  <c:v>104.8</c:v>
                </c:pt>
                <c:pt idx="197">
                  <c:v>102.9</c:v>
                </c:pt>
                <c:pt idx="198">
                  <c:v>141.4</c:v>
                </c:pt>
                <c:pt idx="199">
                  <c:v>144.69999999999999</c:v>
                </c:pt>
                <c:pt idx="200">
                  <c:v>117.8</c:v>
                </c:pt>
                <c:pt idx="201">
                  <c:v>94.3</c:v>
                </c:pt>
                <c:pt idx="202">
                  <c:v>95.8</c:v>
                </c:pt>
                <c:pt idx="203">
                  <c:v>106.5</c:v>
                </c:pt>
                <c:pt idx="204">
                  <c:v>94.4</c:v>
                </c:pt>
                <c:pt idx="205">
                  <c:v>77.099999999999994</c:v>
                </c:pt>
                <c:pt idx="206">
                  <c:v>128</c:v>
                </c:pt>
                <c:pt idx="207">
                  <c:v>112.8</c:v>
                </c:pt>
                <c:pt idx="208">
                  <c:v>110.7</c:v>
                </c:pt>
                <c:pt idx="209">
                  <c:v>89.8</c:v>
                </c:pt>
                <c:pt idx="210">
                  <c:v>178.7</c:v>
                </c:pt>
                <c:pt idx="211">
                  <c:v>133.9</c:v>
                </c:pt>
                <c:pt idx="212">
                  <c:v>109.8</c:v>
                </c:pt>
                <c:pt idx="213">
                  <c:v>93.2</c:v>
                </c:pt>
                <c:pt idx="214">
                  <c:v>172.1</c:v>
                </c:pt>
                <c:pt idx="215">
                  <c:v>89.3</c:v>
                </c:pt>
                <c:pt idx="216">
                  <c:v>383</c:v>
                </c:pt>
                <c:pt idx="217">
                  <c:v>119.3</c:v>
                </c:pt>
                <c:pt idx="218">
                  <c:v>81.7</c:v>
                </c:pt>
                <c:pt idx="219">
                  <c:v>121.5</c:v>
                </c:pt>
                <c:pt idx="220">
                  <c:v>107.6</c:v>
                </c:pt>
                <c:pt idx="221">
                  <c:v>109.3</c:v>
                </c:pt>
                <c:pt idx="222">
                  <c:v>87.2</c:v>
                </c:pt>
                <c:pt idx="223">
                  <c:v>117.4</c:v>
                </c:pt>
                <c:pt idx="224">
                  <c:v>121</c:v>
                </c:pt>
                <c:pt idx="225">
                  <c:v>54.9</c:v>
                </c:pt>
                <c:pt idx="226">
                  <c:v>80.5</c:v>
                </c:pt>
                <c:pt idx="227">
                  <c:v>126.7</c:v>
                </c:pt>
                <c:pt idx="228">
                  <c:v>115.2</c:v>
                </c:pt>
                <c:pt idx="229">
                  <c:v>131.9</c:v>
                </c:pt>
                <c:pt idx="230">
                  <c:v>86.3</c:v>
                </c:pt>
                <c:pt idx="231">
                  <c:v>142.1</c:v>
                </c:pt>
                <c:pt idx="232">
                  <c:v>86.8</c:v>
                </c:pt>
                <c:pt idx="233">
                  <c:v>102</c:v>
                </c:pt>
                <c:pt idx="234">
                  <c:v>101</c:v>
                </c:pt>
                <c:pt idx="235">
                  <c:v>107.2</c:v>
                </c:pt>
                <c:pt idx="236">
                  <c:v>96.6</c:v>
                </c:pt>
                <c:pt idx="237">
                  <c:v>211.4</c:v>
                </c:pt>
                <c:pt idx="238">
                  <c:v>153.6</c:v>
                </c:pt>
                <c:pt idx="239">
                  <c:v>145.80000000000001</c:v>
                </c:pt>
                <c:pt idx="240">
                  <c:v>222.5</c:v>
                </c:pt>
                <c:pt idx="241">
                  <c:v>65.599999999999994</c:v>
                </c:pt>
                <c:pt idx="242">
                  <c:v>86.1</c:v>
                </c:pt>
                <c:pt idx="243">
                  <c:v>106.3</c:v>
                </c:pt>
                <c:pt idx="244">
                  <c:v>71.599999999999994</c:v>
                </c:pt>
                <c:pt idx="245">
                  <c:v>133.4</c:v>
                </c:pt>
                <c:pt idx="246">
                  <c:v>125.6</c:v>
                </c:pt>
                <c:pt idx="247">
                  <c:v>200</c:v>
                </c:pt>
                <c:pt idx="248">
                  <c:v>92.7</c:v>
                </c:pt>
                <c:pt idx="249">
                  <c:v>158.5</c:v>
                </c:pt>
                <c:pt idx="250">
                  <c:v>117.9</c:v>
                </c:pt>
                <c:pt idx="251">
                  <c:v>101</c:v>
                </c:pt>
                <c:pt idx="252">
                  <c:v>105.2</c:v>
                </c:pt>
                <c:pt idx="253">
                  <c:v>100.2</c:v>
                </c:pt>
                <c:pt idx="254">
                  <c:v>120.7</c:v>
                </c:pt>
                <c:pt idx="255">
                  <c:v>85.8</c:v>
                </c:pt>
                <c:pt idx="256">
                  <c:v>134.6</c:v>
                </c:pt>
                <c:pt idx="257">
                  <c:v>111.5</c:v>
                </c:pt>
                <c:pt idx="258">
                  <c:v>135.19999999999999</c:v>
                </c:pt>
                <c:pt idx="259">
                  <c:v>150.6</c:v>
                </c:pt>
                <c:pt idx="260">
                  <c:v>123.7</c:v>
                </c:pt>
                <c:pt idx="261">
                  <c:v>147.1</c:v>
                </c:pt>
                <c:pt idx="262">
                  <c:v>117.8</c:v>
                </c:pt>
                <c:pt idx="263">
                  <c:v>152</c:v>
                </c:pt>
                <c:pt idx="264">
                  <c:v>91.7</c:v>
                </c:pt>
                <c:pt idx="265">
                  <c:v>81</c:v>
                </c:pt>
                <c:pt idx="266">
                  <c:v>106.2</c:v>
                </c:pt>
                <c:pt idx="267">
                  <c:v>103.4</c:v>
                </c:pt>
                <c:pt idx="268">
                  <c:v>89.8</c:v>
                </c:pt>
                <c:pt idx="269">
                  <c:v>111.8</c:v>
                </c:pt>
                <c:pt idx="270">
                  <c:v>98.3</c:v>
                </c:pt>
                <c:pt idx="271">
                  <c:v>184.5</c:v>
                </c:pt>
                <c:pt idx="272">
                  <c:v>103.7</c:v>
                </c:pt>
                <c:pt idx="273">
                  <c:v>177.8</c:v>
                </c:pt>
                <c:pt idx="274">
                  <c:v>156.30000000000001</c:v>
                </c:pt>
                <c:pt idx="275">
                  <c:v>102.7</c:v>
                </c:pt>
                <c:pt idx="276">
                  <c:v>93.7</c:v>
                </c:pt>
                <c:pt idx="277">
                  <c:v>125</c:v>
                </c:pt>
                <c:pt idx="278">
                  <c:v>105.6</c:v>
                </c:pt>
                <c:pt idx="279">
                  <c:v>60.9</c:v>
                </c:pt>
                <c:pt idx="280">
                  <c:v>90</c:v>
                </c:pt>
                <c:pt idx="281">
                  <c:v>138.30000000000001</c:v>
                </c:pt>
                <c:pt idx="282">
                  <c:v>99.4</c:v>
                </c:pt>
                <c:pt idx="283">
                  <c:v>122.2</c:v>
                </c:pt>
                <c:pt idx="284">
                  <c:v>96.7</c:v>
                </c:pt>
                <c:pt idx="285">
                  <c:v>193.5</c:v>
                </c:pt>
                <c:pt idx="286">
                  <c:v>153.80000000000001</c:v>
                </c:pt>
                <c:pt idx="287">
                  <c:v>106.4</c:v>
                </c:pt>
                <c:pt idx="288">
                  <c:v>125.5</c:v>
                </c:pt>
                <c:pt idx="289">
                  <c:v>100.1</c:v>
                </c:pt>
                <c:pt idx="290">
                  <c:v>112.9</c:v>
                </c:pt>
                <c:pt idx="291">
                  <c:v>109.7</c:v>
                </c:pt>
                <c:pt idx="292">
                  <c:v>124.9</c:v>
                </c:pt>
                <c:pt idx="293">
                  <c:v>136.80000000000001</c:v>
                </c:pt>
                <c:pt idx="294">
                  <c:v>101.7</c:v>
                </c:pt>
                <c:pt idx="295">
                  <c:v>90.8</c:v>
                </c:pt>
                <c:pt idx="296">
                  <c:v>112.7</c:v>
                </c:pt>
                <c:pt idx="297">
                  <c:v>93</c:v>
                </c:pt>
                <c:pt idx="298">
                  <c:v>106.5</c:v>
                </c:pt>
                <c:pt idx="299">
                  <c:v>107.1</c:v>
                </c:pt>
                <c:pt idx="300">
                  <c:v>99.3</c:v>
                </c:pt>
                <c:pt idx="301">
                  <c:v>76.2</c:v>
                </c:pt>
                <c:pt idx="302">
                  <c:v>131.6</c:v>
                </c:pt>
                <c:pt idx="303">
                  <c:v>104.1</c:v>
                </c:pt>
                <c:pt idx="304">
                  <c:v>86.5</c:v>
                </c:pt>
                <c:pt idx="305">
                  <c:v>90</c:v>
                </c:pt>
                <c:pt idx="306">
                  <c:v>90.9</c:v>
                </c:pt>
                <c:pt idx="307">
                  <c:v>90.9</c:v>
                </c:pt>
                <c:pt idx="308">
                  <c:v>123.3</c:v>
                </c:pt>
                <c:pt idx="309">
                  <c:v>156.5</c:v>
                </c:pt>
                <c:pt idx="310">
                  <c:v>204.4</c:v>
                </c:pt>
                <c:pt idx="311">
                  <c:v>127.4</c:v>
                </c:pt>
                <c:pt idx="312">
                  <c:v>174.8</c:v>
                </c:pt>
                <c:pt idx="313">
                  <c:v>140.19999999999999</c:v>
                </c:pt>
                <c:pt idx="314">
                  <c:v>177.8</c:v>
                </c:pt>
                <c:pt idx="315">
                  <c:v>120.2</c:v>
                </c:pt>
                <c:pt idx="316">
                  <c:v>108.5</c:v>
                </c:pt>
                <c:pt idx="317">
                  <c:v>138.4</c:v>
                </c:pt>
                <c:pt idx="318">
                  <c:v>95.1</c:v>
                </c:pt>
                <c:pt idx="319">
                  <c:v>127.5</c:v>
                </c:pt>
                <c:pt idx="320">
                  <c:v>108</c:v>
                </c:pt>
                <c:pt idx="321">
                  <c:v>118.4</c:v>
                </c:pt>
                <c:pt idx="322">
                  <c:v>94</c:v>
                </c:pt>
                <c:pt idx="323">
                  <c:v>128.30000000000001</c:v>
                </c:pt>
                <c:pt idx="324">
                  <c:v>107</c:v>
                </c:pt>
                <c:pt idx="325">
                  <c:v>159.30000000000001</c:v>
                </c:pt>
                <c:pt idx="326">
                  <c:v>110.2</c:v>
                </c:pt>
                <c:pt idx="327">
                  <c:v>116.5</c:v>
                </c:pt>
                <c:pt idx="328">
                  <c:v>94.6</c:v>
                </c:pt>
                <c:pt idx="329">
                  <c:v>131.80000000000001</c:v>
                </c:pt>
                <c:pt idx="330">
                  <c:v>132.1</c:v>
                </c:pt>
                <c:pt idx="331">
                  <c:v>135.9</c:v>
                </c:pt>
                <c:pt idx="332">
                  <c:v>104.3</c:v>
                </c:pt>
                <c:pt idx="333">
                  <c:v>89.1</c:v>
                </c:pt>
                <c:pt idx="334">
                  <c:v>105</c:v>
                </c:pt>
                <c:pt idx="335">
                  <c:v>134.1</c:v>
                </c:pt>
                <c:pt idx="336">
                  <c:v>114.3</c:v>
                </c:pt>
                <c:pt idx="337">
                  <c:v>134.9</c:v>
                </c:pt>
                <c:pt idx="338">
                  <c:v>123.9</c:v>
                </c:pt>
                <c:pt idx="339">
                  <c:v>117.3</c:v>
                </c:pt>
                <c:pt idx="340">
                  <c:v>158.69999999999999</c:v>
                </c:pt>
                <c:pt idx="341">
                  <c:v>168.4</c:v>
                </c:pt>
                <c:pt idx="342">
                  <c:v>95.1</c:v>
                </c:pt>
                <c:pt idx="343">
                  <c:v>118.9</c:v>
                </c:pt>
                <c:pt idx="344">
                  <c:v>172.3</c:v>
                </c:pt>
                <c:pt idx="345">
                  <c:v>88.1</c:v>
                </c:pt>
                <c:pt idx="346">
                  <c:v>97.4</c:v>
                </c:pt>
                <c:pt idx="347">
                  <c:v>95</c:v>
                </c:pt>
                <c:pt idx="348">
                  <c:v>78.900000000000006</c:v>
                </c:pt>
                <c:pt idx="349">
                  <c:v>145.6</c:v>
                </c:pt>
                <c:pt idx="350">
                  <c:v>104.4</c:v>
                </c:pt>
                <c:pt idx="351">
                  <c:v>112.6</c:v>
                </c:pt>
                <c:pt idx="352">
                  <c:v>108</c:v>
                </c:pt>
                <c:pt idx="353">
                  <c:v>108.3</c:v>
                </c:pt>
                <c:pt idx="354">
                  <c:v>143.5</c:v>
                </c:pt>
                <c:pt idx="355">
                  <c:v>60.2</c:v>
                </c:pt>
                <c:pt idx="356">
                  <c:v>98.9</c:v>
                </c:pt>
                <c:pt idx="357">
                  <c:v>154.30000000000001</c:v>
                </c:pt>
                <c:pt idx="358">
                  <c:v>116.3</c:v>
                </c:pt>
                <c:pt idx="359">
                  <c:v>110.2</c:v>
                </c:pt>
                <c:pt idx="360">
                  <c:v>141.80000000000001</c:v>
                </c:pt>
                <c:pt idx="361">
                  <c:v>102.2</c:v>
                </c:pt>
                <c:pt idx="362">
                  <c:v>105.3</c:v>
                </c:pt>
                <c:pt idx="363">
                  <c:v>103.4</c:v>
                </c:pt>
                <c:pt idx="364">
                  <c:v>101.7</c:v>
                </c:pt>
                <c:pt idx="365">
                  <c:v>80.3</c:v>
                </c:pt>
                <c:pt idx="366">
                  <c:v>121</c:v>
                </c:pt>
                <c:pt idx="367">
                  <c:v>100</c:v>
                </c:pt>
                <c:pt idx="368">
                  <c:v>105.2</c:v>
                </c:pt>
                <c:pt idx="369">
                  <c:v>192.5</c:v>
                </c:pt>
                <c:pt idx="370">
                  <c:v>128</c:v>
                </c:pt>
                <c:pt idx="371">
                  <c:v>183</c:v>
                </c:pt>
                <c:pt idx="372">
                  <c:v>116.6</c:v>
                </c:pt>
                <c:pt idx="373">
                  <c:v>117</c:v>
                </c:pt>
                <c:pt idx="374">
                  <c:v>106.2</c:v>
                </c:pt>
                <c:pt idx="375">
                  <c:v>85.9</c:v>
                </c:pt>
                <c:pt idx="376">
                  <c:v>155.80000000000001</c:v>
                </c:pt>
                <c:pt idx="377">
                  <c:v>120.7</c:v>
                </c:pt>
                <c:pt idx="378">
                  <c:v>85.1</c:v>
                </c:pt>
                <c:pt idx="379">
                  <c:v>149</c:v>
                </c:pt>
                <c:pt idx="380">
                  <c:v>134.9</c:v>
                </c:pt>
                <c:pt idx="381">
                  <c:v>89.1</c:v>
                </c:pt>
                <c:pt idx="382">
                  <c:v>119.5</c:v>
                </c:pt>
                <c:pt idx="383">
                  <c:v>155</c:v>
                </c:pt>
                <c:pt idx="384">
                  <c:v>121.9</c:v>
                </c:pt>
                <c:pt idx="385">
                  <c:v>105.5</c:v>
                </c:pt>
                <c:pt idx="386">
                  <c:v>136.1</c:v>
                </c:pt>
                <c:pt idx="387">
                  <c:v>112</c:v>
                </c:pt>
                <c:pt idx="388">
                  <c:v>119.4</c:v>
                </c:pt>
                <c:pt idx="389">
                  <c:v>108.6</c:v>
                </c:pt>
                <c:pt idx="390">
                  <c:v>122.6</c:v>
                </c:pt>
                <c:pt idx="391">
                  <c:v>97.5</c:v>
                </c:pt>
                <c:pt idx="392">
                  <c:v>119.5</c:v>
                </c:pt>
                <c:pt idx="393">
                  <c:v>58.4</c:v>
                </c:pt>
                <c:pt idx="394">
                  <c:v>127.7</c:v>
                </c:pt>
                <c:pt idx="395">
                  <c:v>121.7</c:v>
                </c:pt>
                <c:pt idx="396">
                  <c:v>134.5</c:v>
                </c:pt>
                <c:pt idx="397">
                  <c:v>97.3</c:v>
                </c:pt>
                <c:pt idx="398">
                  <c:v>112.6</c:v>
                </c:pt>
                <c:pt idx="399">
                  <c:v>148.80000000000001</c:v>
                </c:pt>
                <c:pt idx="400">
                  <c:v>199.5</c:v>
                </c:pt>
                <c:pt idx="401">
                  <c:v>162.6</c:v>
                </c:pt>
                <c:pt idx="402">
                  <c:v>106.1</c:v>
                </c:pt>
                <c:pt idx="403">
                  <c:v>91.8</c:v>
                </c:pt>
                <c:pt idx="404">
                  <c:v>148.4</c:v>
                </c:pt>
                <c:pt idx="405">
                  <c:v>146.5</c:v>
                </c:pt>
                <c:pt idx="406">
                  <c:v>127.7</c:v>
                </c:pt>
                <c:pt idx="407">
                  <c:v>135.5</c:v>
                </c:pt>
                <c:pt idx="408">
                  <c:v>144.6</c:v>
                </c:pt>
                <c:pt idx="409">
                  <c:v>165.5</c:v>
                </c:pt>
                <c:pt idx="410">
                  <c:v>90.2</c:v>
                </c:pt>
                <c:pt idx="411">
                  <c:v>129.80000000000001</c:v>
                </c:pt>
                <c:pt idx="412">
                  <c:v>111.9</c:v>
                </c:pt>
                <c:pt idx="413">
                  <c:v>103.6</c:v>
                </c:pt>
                <c:pt idx="414">
                  <c:v>216.4</c:v>
                </c:pt>
                <c:pt idx="415">
                  <c:v>125.1</c:v>
                </c:pt>
                <c:pt idx="416">
                  <c:v>191</c:v>
                </c:pt>
                <c:pt idx="417">
                  <c:v>109.4</c:v>
                </c:pt>
                <c:pt idx="418">
                  <c:v>162.9</c:v>
                </c:pt>
                <c:pt idx="419">
                  <c:v>132.69999999999999</c:v>
                </c:pt>
                <c:pt idx="420">
                  <c:v>91.9</c:v>
                </c:pt>
              </c:numCache>
            </c:numRef>
          </c:xVal>
          <c:yVal>
            <c:numRef>
              <c:f>'438'!$I$2:$I$422</c:f>
              <c:numCache>
                <c:formatCode>General</c:formatCode>
                <c:ptCount val="421"/>
                <c:pt idx="0">
                  <c:v>28000</c:v>
                </c:pt>
                <c:pt idx="1">
                  <c:v>22400</c:v>
                </c:pt>
                <c:pt idx="2">
                  <c:v>27700</c:v>
                </c:pt>
                <c:pt idx="3">
                  <c:v>22400</c:v>
                </c:pt>
                <c:pt idx="4">
                  <c:v>31400</c:v>
                </c:pt>
                <c:pt idx="5">
                  <c:v>20100</c:v>
                </c:pt>
                <c:pt idx="6">
                  <c:v>32496</c:v>
                </c:pt>
                <c:pt idx="7">
                  <c:v>19900</c:v>
                </c:pt>
                <c:pt idx="8">
                  <c:v>22500</c:v>
                </c:pt>
                <c:pt idx="9">
                  <c:v>28489</c:v>
                </c:pt>
                <c:pt idx="10">
                  <c:v>25900</c:v>
                </c:pt>
                <c:pt idx="11">
                  <c:v>33913</c:v>
                </c:pt>
                <c:pt idx="12">
                  <c:v>40600</c:v>
                </c:pt>
                <c:pt idx="13">
                  <c:v>24800</c:v>
                </c:pt>
                <c:pt idx="14">
                  <c:v>69974</c:v>
                </c:pt>
                <c:pt idx="15">
                  <c:v>33223</c:v>
                </c:pt>
                <c:pt idx="16">
                  <c:v>21900</c:v>
                </c:pt>
                <c:pt idx="17">
                  <c:v>24674</c:v>
                </c:pt>
                <c:pt idx="18">
                  <c:v>16091</c:v>
                </c:pt>
                <c:pt idx="19">
                  <c:v>19500</c:v>
                </c:pt>
                <c:pt idx="20">
                  <c:v>25900</c:v>
                </c:pt>
                <c:pt idx="21">
                  <c:v>33018</c:v>
                </c:pt>
                <c:pt idx="22">
                  <c:v>21300</c:v>
                </c:pt>
                <c:pt idx="23">
                  <c:v>24400</c:v>
                </c:pt>
                <c:pt idx="24">
                  <c:v>26300</c:v>
                </c:pt>
                <c:pt idx="25">
                  <c:v>15500</c:v>
                </c:pt>
                <c:pt idx="26">
                  <c:v>29200</c:v>
                </c:pt>
                <c:pt idx="27">
                  <c:v>26700</c:v>
                </c:pt>
                <c:pt idx="28">
                  <c:v>16195</c:v>
                </c:pt>
                <c:pt idx="29">
                  <c:v>19700</c:v>
                </c:pt>
                <c:pt idx="30">
                  <c:v>19500</c:v>
                </c:pt>
                <c:pt idx="31">
                  <c:v>17052</c:v>
                </c:pt>
                <c:pt idx="32">
                  <c:v>27600</c:v>
                </c:pt>
                <c:pt idx="33">
                  <c:v>334000</c:v>
                </c:pt>
                <c:pt idx="34">
                  <c:v>56400</c:v>
                </c:pt>
                <c:pt idx="35">
                  <c:v>28100</c:v>
                </c:pt>
                <c:pt idx="36">
                  <c:v>22300</c:v>
                </c:pt>
                <c:pt idx="37">
                  <c:v>19900</c:v>
                </c:pt>
                <c:pt idx="38">
                  <c:v>21700</c:v>
                </c:pt>
                <c:pt idx="39">
                  <c:v>29000</c:v>
                </c:pt>
                <c:pt idx="40">
                  <c:v>29500</c:v>
                </c:pt>
                <c:pt idx="41">
                  <c:v>28100</c:v>
                </c:pt>
                <c:pt idx="42">
                  <c:v>22500</c:v>
                </c:pt>
                <c:pt idx="43">
                  <c:v>28200</c:v>
                </c:pt>
                <c:pt idx="44">
                  <c:v>22700</c:v>
                </c:pt>
                <c:pt idx="45">
                  <c:v>21000</c:v>
                </c:pt>
                <c:pt idx="46">
                  <c:v>20500</c:v>
                </c:pt>
                <c:pt idx="47">
                  <c:v>55500</c:v>
                </c:pt>
                <c:pt idx="48">
                  <c:v>37700</c:v>
                </c:pt>
                <c:pt idx="49">
                  <c:v>90576</c:v>
                </c:pt>
                <c:pt idx="50">
                  <c:v>15200</c:v>
                </c:pt>
                <c:pt idx="51">
                  <c:v>34300</c:v>
                </c:pt>
                <c:pt idx="52">
                  <c:v>48400</c:v>
                </c:pt>
                <c:pt idx="53">
                  <c:v>40245</c:v>
                </c:pt>
                <c:pt idx="54">
                  <c:v>51900</c:v>
                </c:pt>
                <c:pt idx="55">
                  <c:v>33000</c:v>
                </c:pt>
                <c:pt idx="56">
                  <c:v>43500</c:v>
                </c:pt>
                <c:pt idx="57">
                  <c:v>28200</c:v>
                </c:pt>
                <c:pt idx="58">
                  <c:v>19000</c:v>
                </c:pt>
                <c:pt idx="59">
                  <c:v>21800</c:v>
                </c:pt>
                <c:pt idx="60">
                  <c:v>25600</c:v>
                </c:pt>
                <c:pt idx="61">
                  <c:v>34300</c:v>
                </c:pt>
                <c:pt idx="62">
                  <c:v>323694</c:v>
                </c:pt>
                <c:pt idx="63">
                  <c:v>20996</c:v>
                </c:pt>
                <c:pt idx="64">
                  <c:v>20165</c:v>
                </c:pt>
                <c:pt idx="65">
                  <c:v>27300</c:v>
                </c:pt>
                <c:pt idx="66">
                  <c:v>23900</c:v>
                </c:pt>
                <c:pt idx="67">
                  <c:v>20900</c:v>
                </c:pt>
                <c:pt idx="68">
                  <c:v>75100</c:v>
                </c:pt>
                <c:pt idx="69">
                  <c:v>19000</c:v>
                </c:pt>
                <c:pt idx="70">
                  <c:v>26900</c:v>
                </c:pt>
                <c:pt idx="71">
                  <c:v>24700</c:v>
                </c:pt>
                <c:pt idx="72">
                  <c:v>22700</c:v>
                </c:pt>
                <c:pt idx="73">
                  <c:v>36100</c:v>
                </c:pt>
                <c:pt idx="74">
                  <c:v>36000</c:v>
                </c:pt>
                <c:pt idx="75">
                  <c:v>23200</c:v>
                </c:pt>
                <c:pt idx="76">
                  <c:v>23400</c:v>
                </c:pt>
                <c:pt idx="77">
                  <c:v>21300</c:v>
                </c:pt>
                <c:pt idx="78">
                  <c:v>22500</c:v>
                </c:pt>
                <c:pt idx="79">
                  <c:v>20100</c:v>
                </c:pt>
                <c:pt idx="80">
                  <c:v>21300</c:v>
                </c:pt>
                <c:pt idx="81">
                  <c:v>37800</c:v>
                </c:pt>
                <c:pt idx="82">
                  <c:v>20700</c:v>
                </c:pt>
                <c:pt idx="83">
                  <c:v>52300</c:v>
                </c:pt>
                <c:pt idx="84">
                  <c:v>19400</c:v>
                </c:pt>
                <c:pt idx="85">
                  <c:v>25300</c:v>
                </c:pt>
                <c:pt idx="86">
                  <c:v>27600</c:v>
                </c:pt>
                <c:pt idx="87">
                  <c:v>31934</c:v>
                </c:pt>
                <c:pt idx="88">
                  <c:v>27400</c:v>
                </c:pt>
                <c:pt idx="89">
                  <c:v>35600</c:v>
                </c:pt>
                <c:pt idx="90">
                  <c:v>26500</c:v>
                </c:pt>
                <c:pt idx="91">
                  <c:v>26000</c:v>
                </c:pt>
                <c:pt idx="92">
                  <c:v>26400</c:v>
                </c:pt>
                <c:pt idx="93">
                  <c:v>26700</c:v>
                </c:pt>
                <c:pt idx="94">
                  <c:v>22400</c:v>
                </c:pt>
                <c:pt idx="95">
                  <c:v>29059</c:v>
                </c:pt>
                <c:pt idx="96">
                  <c:v>20300</c:v>
                </c:pt>
                <c:pt idx="97">
                  <c:v>27400</c:v>
                </c:pt>
                <c:pt idx="98">
                  <c:v>19700</c:v>
                </c:pt>
                <c:pt idx="99">
                  <c:v>23900</c:v>
                </c:pt>
                <c:pt idx="100">
                  <c:v>25600</c:v>
                </c:pt>
                <c:pt idx="101">
                  <c:v>23030</c:v>
                </c:pt>
                <c:pt idx="102">
                  <c:v>25500</c:v>
                </c:pt>
                <c:pt idx="103">
                  <c:v>34600</c:v>
                </c:pt>
                <c:pt idx="104">
                  <c:v>22700</c:v>
                </c:pt>
                <c:pt idx="105">
                  <c:v>20800</c:v>
                </c:pt>
                <c:pt idx="106">
                  <c:v>30400</c:v>
                </c:pt>
                <c:pt idx="107">
                  <c:v>30700</c:v>
                </c:pt>
                <c:pt idx="108">
                  <c:v>21926</c:v>
                </c:pt>
                <c:pt idx="109">
                  <c:v>24486</c:v>
                </c:pt>
                <c:pt idx="110">
                  <c:v>32200</c:v>
                </c:pt>
                <c:pt idx="111">
                  <c:v>24305</c:v>
                </c:pt>
                <c:pt idx="112">
                  <c:v>31100</c:v>
                </c:pt>
                <c:pt idx="113">
                  <c:v>21100</c:v>
                </c:pt>
                <c:pt idx="114">
                  <c:v>18400</c:v>
                </c:pt>
                <c:pt idx="115">
                  <c:v>26300</c:v>
                </c:pt>
                <c:pt idx="116">
                  <c:v>15900</c:v>
                </c:pt>
                <c:pt idx="117">
                  <c:v>39361</c:v>
                </c:pt>
                <c:pt idx="118">
                  <c:v>29300</c:v>
                </c:pt>
                <c:pt idx="119">
                  <c:v>45600</c:v>
                </c:pt>
                <c:pt idx="120">
                  <c:v>40100</c:v>
                </c:pt>
                <c:pt idx="121">
                  <c:v>27500</c:v>
                </c:pt>
                <c:pt idx="122">
                  <c:v>21000</c:v>
                </c:pt>
                <c:pt idx="123">
                  <c:v>31200</c:v>
                </c:pt>
                <c:pt idx="124">
                  <c:v>28700</c:v>
                </c:pt>
                <c:pt idx="125">
                  <c:v>24900</c:v>
                </c:pt>
                <c:pt idx="126">
                  <c:v>23200</c:v>
                </c:pt>
                <c:pt idx="127">
                  <c:v>36600</c:v>
                </c:pt>
                <c:pt idx="128">
                  <c:v>21300</c:v>
                </c:pt>
                <c:pt idx="129">
                  <c:v>20200</c:v>
                </c:pt>
                <c:pt idx="130">
                  <c:v>23100</c:v>
                </c:pt>
                <c:pt idx="131">
                  <c:v>20602</c:v>
                </c:pt>
                <c:pt idx="132">
                  <c:v>37716</c:v>
                </c:pt>
                <c:pt idx="133">
                  <c:v>34067</c:v>
                </c:pt>
                <c:pt idx="134">
                  <c:v>32800</c:v>
                </c:pt>
                <c:pt idx="135">
                  <c:v>20100</c:v>
                </c:pt>
                <c:pt idx="136">
                  <c:v>28900</c:v>
                </c:pt>
                <c:pt idx="137">
                  <c:v>18800</c:v>
                </c:pt>
                <c:pt idx="138">
                  <c:v>28200</c:v>
                </c:pt>
                <c:pt idx="139">
                  <c:v>20900</c:v>
                </c:pt>
                <c:pt idx="140">
                  <c:v>27000</c:v>
                </c:pt>
                <c:pt idx="141">
                  <c:v>26700</c:v>
                </c:pt>
                <c:pt idx="142">
                  <c:v>20700</c:v>
                </c:pt>
                <c:pt idx="143">
                  <c:v>35540</c:v>
                </c:pt>
                <c:pt idx="144">
                  <c:v>21724</c:v>
                </c:pt>
                <c:pt idx="145">
                  <c:v>25400</c:v>
                </c:pt>
                <c:pt idx="146">
                  <c:v>33700</c:v>
                </c:pt>
                <c:pt idx="147">
                  <c:v>18000</c:v>
                </c:pt>
                <c:pt idx="148">
                  <c:v>24400</c:v>
                </c:pt>
                <c:pt idx="149">
                  <c:v>21200</c:v>
                </c:pt>
                <c:pt idx="150">
                  <c:v>28000</c:v>
                </c:pt>
                <c:pt idx="151">
                  <c:v>19600</c:v>
                </c:pt>
                <c:pt idx="152">
                  <c:v>17800</c:v>
                </c:pt>
                <c:pt idx="153">
                  <c:v>26900</c:v>
                </c:pt>
                <c:pt idx="154">
                  <c:v>26600</c:v>
                </c:pt>
                <c:pt idx="155">
                  <c:v>30100</c:v>
                </c:pt>
                <c:pt idx="156">
                  <c:v>19900</c:v>
                </c:pt>
                <c:pt idx="157">
                  <c:v>22700</c:v>
                </c:pt>
                <c:pt idx="158">
                  <c:v>23500</c:v>
                </c:pt>
                <c:pt idx="159">
                  <c:v>19600</c:v>
                </c:pt>
                <c:pt idx="160">
                  <c:v>21100</c:v>
                </c:pt>
                <c:pt idx="161">
                  <c:v>28000</c:v>
                </c:pt>
                <c:pt idx="162">
                  <c:v>22900</c:v>
                </c:pt>
                <c:pt idx="163">
                  <c:v>24511</c:v>
                </c:pt>
                <c:pt idx="164">
                  <c:v>19200</c:v>
                </c:pt>
                <c:pt idx="165">
                  <c:v>21200</c:v>
                </c:pt>
                <c:pt idx="166">
                  <c:v>20100</c:v>
                </c:pt>
                <c:pt idx="167">
                  <c:v>21874</c:v>
                </c:pt>
                <c:pt idx="168">
                  <c:v>41900</c:v>
                </c:pt>
                <c:pt idx="169">
                  <c:v>24200</c:v>
                </c:pt>
                <c:pt idx="170">
                  <c:v>26700</c:v>
                </c:pt>
                <c:pt idx="171">
                  <c:v>26600</c:v>
                </c:pt>
                <c:pt idx="172">
                  <c:v>18800</c:v>
                </c:pt>
                <c:pt idx="173">
                  <c:v>25239</c:v>
                </c:pt>
                <c:pt idx="174">
                  <c:v>28300</c:v>
                </c:pt>
                <c:pt idx="175">
                  <c:v>22800</c:v>
                </c:pt>
                <c:pt idx="176">
                  <c:v>29900</c:v>
                </c:pt>
                <c:pt idx="177">
                  <c:v>21300</c:v>
                </c:pt>
                <c:pt idx="178">
                  <c:v>24100</c:v>
                </c:pt>
                <c:pt idx="179">
                  <c:v>23200</c:v>
                </c:pt>
                <c:pt idx="180">
                  <c:v>24700</c:v>
                </c:pt>
                <c:pt idx="181">
                  <c:v>52000</c:v>
                </c:pt>
                <c:pt idx="182">
                  <c:v>34461</c:v>
                </c:pt>
                <c:pt idx="183">
                  <c:v>30900</c:v>
                </c:pt>
                <c:pt idx="184">
                  <c:v>26600</c:v>
                </c:pt>
                <c:pt idx="185">
                  <c:v>73100</c:v>
                </c:pt>
                <c:pt idx="186">
                  <c:v>26800</c:v>
                </c:pt>
                <c:pt idx="187">
                  <c:v>21848</c:v>
                </c:pt>
                <c:pt idx="188">
                  <c:v>31500</c:v>
                </c:pt>
                <c:pt idx="189">
                  <c:v>22400</c:v>
                </c:pt>
                <c:pt idx="190">
                  <c:v>34200</c:v>
                </c:pt>
                <c:pt idx="191">
                  <c:v>65200</c:v>
                </c:pt>
                <c:pt idx="192">
                  <c:v>22500</c:v>
                </c:pt>
                <c:pt idx="193">
                  <c:v>33900</c:v>
                </c:pt>
                <c:pt idx="194">
                  <c:v>22100</c:v>
                </c:pt>
                <c:pt idx="195">
                  <c:v>40900</c:v>
                </c:pt>
                <c:pt idx="196">
                  <c:v>22900</c:v>
                </c:pt>
                <c:pt idx="197">
                  <c:v>21937</c:v>
                </c:pt>
                <c:pt idx="198">
                  <c:v>31600</c:v>
                </c:pt>
                <c:pt idx="199">
                  <c:v>31577</c:v>
                </c:pt>
                <c:pt idx="200">
                  <c:v>26500</c:v>
                </c:pt>
                <c:pt idx="201">
                  <c:v>21300</c:v>
                </c:pt>
                <c:pt idx="202">
                  <c:v>22900</c:v>
                </c:pt>
                <c:pt idx="203">
                  <c:v>23900</c:v>
                </c:pt>
                <c:pt idx="204">
                  <c:v>21100</c:v>
                </c:pt>
                <c:pt idx="205">
                  <c:v>18100</c:v>
                </c:pt>
                <c:pt idx="206">
                  <c:v>25700</c:v>
                </c:pt>
                <c:pt idx="207">
                  <c:v>25500</c:v>
                </c:pt>
                <c:pt idx="208">
                  <c:v>23800</c:v>
                </c:pt>
                <c:pt idx="209">
                  <c:v>19949</c:v>
                </c:pt>
                <c:pt idx="210">
                  <c:v>32426</c:v>
                </c:pt>
                <c:pt idx="211">
                  <c:v>25700</c:v>
                </c:pt>
                <c:pt idx="212">
                  <c:v>27400</c:v>
                </c:pt>
                <c:pt idx="213">
                  <c:v>20400</c:v>
                </c:pt>
                <c:pt idx="214">
                  <c:v>40300</c:v>
                </c:pt>
                <c:pt idx="215">
                  <c:v>20000</c:v>
                </c:pt>
                <c:pt idx="216">
                  <c:v>189100</c:v>
                </c:pt>
                <c:pt idx="217">
                  <c:v>26500</c:v>
                </c:pt>
                <c:pt idx="218">
                  <c:v>17000</c:v>
                </c:pt>
                <c:pt idx="219">
                  <c:v>24400</c:v>
                </c:pt>
                <c:pt idx="220">
                  <c:v>23700</c:v>
                </c:pt>
                <c:pt idx="221">
                  <c:v>23300</c:v>
                </c:pt>
                <c:pt idx="222">
                  <c:v>22100</c:v>
                </c:pt>
                <c:pt idx="223">
                  <c:v>26600</c:v>
                </c:pt>
                <c:pt idx="224">
                  <c:v>25300</c:v>
                </c:pt>
                <c:pt idx="225">
                  <c:v>20500</c:v>
                </c:pt>
                <c:pt idx="226">
                  <c:v>19800</c:v>
                </c:pt>
                <c:pt idx="227">
                  <c:v>25800</c:v>
                </c:pt>
                <c:pt idx="228">
                  <c:v>24600</c:v>
                </c:pt>
                <c:pt idx="229">
                  <c:v>28600</c:v>
                </c:pt>
                <c:pt idx="230">
                  <c:v>18100</c:v>
                </c:pt>
                <c:pt idx="231">
                  <c:v>28700</c:v>
                </c:pt>
                <c:pt idx="232">
                  <c:v>21300</c:v>
                </c:pt>
                <c:pt idx="233">
                  <c:v>23426</c:v>
                </c:pt>
                <c:pt idx="234">
                  <c:v>21500</c:v>
                </c:pt>
                <c:pt idx="235">
                  <c:v>27611</c:v>
                </c:pt>
                <c:pt idx="236">
                  <c:v>22600</c:v>
                </c:pt>
                <c:pt idx="237">
                  <c:v>57700</c:v>
                </c:pt>
                <c:pt idx="238">
                  <c:v>33600</c:v>
                </c:pt>
                <c:pt idx="239">
                  <c:v>28300</c:v>
                </c:pt>
                <c:pt idx="240">
                  <c:v>40267</c:v>
                </c:pt>
                <c:pt idx="241">
                  <c:v>19600</c:v>
                </c:pt>
                <c:pt idx="242">
                  <c:v>19400</c:v>
                </c:pt>
                <c:pt idx="243">
                  <c:v>24200</c:v>
                </c:pt>
                <c:pt idx="244">
                  <c:v>17000</c:v>
                </c:pt>
                <c:pt idx="245">
                  <c:v>30100</c:v>
                </c:pt>
                <c:pt idx="246">
                  <c:v>27100</c:v>
                </c:pt>
                <c:pt idx="247">
                  <c:v>54700</c:v>
                </c:pt>
                <c:pt idx="248">
                  <c:v>19000</c:v>
                </c:pt>
                <c:pt idx="249">
                  <c:v>38600</c:v>
                </c:pt>
                <c:pt idx="250">
                  <c:v>25200</c:v>
                </c:pt>
                <c:pt idx="251">
                  <c:v>21600</c:v>
                </c:pt>
                <c:pt idx="252">
                  <c:v>22400</c:v>
                </c:pt>
                <c:pt idx="253">
                  <c:v>21000</c:v>
                </c:pt>
                <c:pt idx="254">
                  <c:v>27200</c:v>
                </c:pt>
                <c:pt idx="255">
                  <c:v>20100</c:v>
                </c:pt>
                <c:pt idx="256">
                  <c:v>28500</c:v>
                </c:pt>
                <c:pt idx="257">
                  <c:v>24224</c:v>
                </c:pt>
                <c:pt idx="258">
                  <c:v>36500</c:v>
                </c:pt>
                <c:pt idx="259">
                  <c:v>30900</c:v>
                </c:pt>
                <c:pt idx="260">
                  <c:v>25600</c:v>
                </c:pt>
                <c:pt idx="261">
                  <c:v>31900</c:v>
                </c:pt>
                <c:pt idx="262">
                  <c:v>26100</c:v>
                </c:pt>
                <c:pt idx="263">
                  <c:v>32600</c:v>
                </c:pt>
                <c:pt idx="264">
                  <c:v>19700</c:v>
                </c:pt>
                <c:pt idx="265">
                  <c:v>18600</c:v>
                </c:pt>
                <c:pt idx="266">
                  <c:v>22600</c:v>
                </c:pt>
                <c:pt idx="267">
                  <c:v>21700</c:v>
                </c:pt>
                <c:pt idx="268">
                  <c:v>20000</c:v>
                </c:pt>
                <c:pt idx="269">
                  <c:v>24700</c:v>
                </c:pt>
                <c:pt idx="270">
                  <c:v>20300</c:v>
                </c:pt>
                <c:pt idx="271">
                  <c:v>45000</c:v>
                </c:pt>
                <c:pt idx="272">
                  <c:v>23400</c:v>
                </c:pt>
                <c:pt idx="273">
                  <c:v>40400</c:v>
                </c:pt>
                <c:pt idx="274">
                  <c:v>38600</c:v>
                </c:pt>
                <c:pt idx="275">
                  <c:v>22200</c:v>
                </c:pt>
                <c:pt idx="276">
                  <c:v>20200</c:v>
                </c:pt>
                <c:pt idx="277">
                  <c:v>25900</c:v>
                </c:pt>
                <c:pt idx="278">
                  <c:v>24100</c:v>
                </c:pt>
                <c:pt idx="279">
                  <c:v>14700</c:v>
                </c:pt>
                <c:pt idx="280">
                  <c:v>20031</c:v>
                </c:pt>
                <c:pt idx="281">
                  <c:v>31800</c:v>
                </c:pt>
                <c:pt idx="282">
                  <c:v>21600</c:v>
                </c:pt>
                <c:pt idx="283">
                  <c:v>24300</c:v>
                </c:pt>
                <c:pt idx="284">
                  <c:v>20300</c:v>
                </c:pt>
                <c:pt idx="285">
                  <c:v>42700</c:v>
                </c:pt>
                <c:pt idx="286">
                  <c:v>28800</c:v>
                </c:pt>
                <c:pt idx="287">
                  <c:v>22600</c:v>
                </c:pt>
                <c:pt idx="288">
                  <c:v>35800</c:v>
                </c:pt>
                <c:pt idx="289">
                  <c:v>22300</c:v>
                </c:pt>
                <c:pt idx="290">
                  <c:v>24400</c:v>
                </c:pt>
                <c:pt idx="291">
                  <c:v>24200</c:v>
                </c:pt>
                <c:pt idx="292">
                  <c:v>27000</c:v>
                </c:pt>
                <c:pt idx="293">
                  <c:v>30600</c:v>
                </c:pt>
                <c:pt idx="294">
                  <c:v>21501</c:v>
                </c:pt>
                <c:pt idx="295">
                  <c:v>19700</c:v>
                </c:pt>
                <c:pt idx="296">
                  <c:v>27000</c:v>
                </c:pt>
                <c:pt idx="297">
                  <c:v>25100</c:v>
                </c:pt>
                <c:pt idx="298">
                  <c:v>24200</c:v>
                </c:pt>
                <c:pt idx="299">
                  <c:v>24500</c:v>
                </c:pt>
                <c:pt idx="300">
                  <c:v>20600</c:v>
                </c:pt>
                <c:pt idx="301">
                  <c:v>17200</c:v>
                </c:pt>
                <c:pt idx="302">
                  <c:v>29400</c:v>
                </c:pt>
                <c:pt idx="303">
                  <c:v>23100</c:v>
                </c:pt>
                <c:pt idx="304">
                  <c:v>19500</c:v>
                </c:pt>
                <c:pt idx="305">
                  <c:v>19600</c:v>
                </c:pt>
                <c:pt idx="306">
                  <c:v>20811</c:v>
                </c:pt>
                <c:pt idx="307">
                  <c:v>20800</c:v>
                </c:pt>
                <c:pt idx="308">
                  <c:v>19100</c:v>
                </c:pt>
                <c:pt idx="309">
                  <c:v>33900</c:v>
                </c:pt>
                <c:pt idx="310">
                  <c:v>52700</c:v>
                </c:pt>
                <c:pt idx="311">
                  <c:v>26500</c:v>
                </c:pt>
                <c:pt idx="312">
                  <c:v>42500</c:v>
                </c:pt>
                <c:pt idx="313">
                  <c:v>30200</c:v>
                </c:pt>
                <c:pt idx="314">
                  <c:v>41900</c:v>
                </c:pt>
                <c:pt idx="315">
                  <c:v>22693</c:v>
                </c:pt>
                <c:pt idx="316">
                  <c:v>21356</c:v>
                </c:pt>
                <c:pt idx="317">
                  <c:v>33600</c:v>
                </c:pt>
                <c:pt idx="318">
                  <c:v>21500</c:v>
                </c:pt>
                <c:pt idx="319">
                  <c:v>26500</c:v>
                </c:pt>
                <c:pt idx="320">
                  <c:v>23000</c:v>
                </c:pt>
                <c:pt idx="321">
                  <c:v>24300</c:v>
                </c:pt>
                <c:pt idx="322">
                  <c:v>22880</c:v>
                </c:pt>
                <c:pt idx="323">
                  <c:v>29500</c:v>
                </c:pt>
                <c:pt idx="324">
                  <c:v>23800</c:v>
                </c:pt>
                <c:pt idx="325">
                  <c:v>36600</c:v>
                </c:pt>
                <c:pt idx="326">
                  <c:v>22300</c:v>
                </c:pt>
                <c:pt idx="327">
                  <c:v>24600</c:v>
                </c:pt>
                <c:pt idx="328">
                  <c:v>20300</c:v>
                </c:pt>
                <c:pt idx="329">
                  <c:v>30500</c:v>
                </c:pt>
                <c:pt idx="330">
                  <c:v>28100</c:v>
                </c:pt>
                <c:pt idx="331">
                  <c:v>29200</c:v>
                </c:pt>
                <c:pt idx="332">
                  <c:v>22900</c:v>
                </c:pt>
                <c:pt idx="333">
                  <c:v>19315</c:v>
                </c:pt>
                <c:pt idx="334">
                  <c:v>22700</c:v>
                </c:pt>
                <c:pt idx="335">
                  <c:v>28500</c:v>
                </c:pt>
                <c:pt idx="336">
                  <c:v>27448</c:v>
                </c:pt>
                <c:pt idx="337">
                  <c:v>27600</c:v>
                </c:pt>
                <c:pt idx="338">
                  <c:v>24800</c:v>
                </c:pt>
                <c:pt idx="339">
                  <c:v>27200</c:v>
                </c:pt>
                <c:pt idx="340">
                  <c:v>31653</c:v>
                </c:pt>
                <c:pt idx="341">
                  <c:v>39900</c:v>
                </c:pt>
                <c:pt idx="342">
                  <c:v>21200</c:v>
                </c:pt>
                <c:pt idx="343">
                  <c:v>27400</c:v>
                </c:pt>
                <c:pt idx="344">
                  <c:v>31000</c:v>
                </c:pt>
                <c:pt idx="345">
                  <c:v>19700</c:v>
                </c:pt>
                <c:pt idx="346">
                  <c:v>21500</c:v>
                </c:pt>
                <c:pt idx="347">
                  <c:v>23274</c:v>
                </c:pt>
                <c:pt idx="348">
                  <c:v>18300</c:v>
                </c:pt>
                <c:pt idx="349">
                  <c:v>32700</c:v>
                </c:pt>
                <c:pt idx="350">
                  <c:v>21700</c:v>
                </c:pt>
                <c:pt idx="351">
                  <c:v>23400</c:v>
                </c:pt>
                <c:pt idx="352">
                  <c:v>24300</c:v>
                </c:pt>
                <c:pt idx="353">
                  <c:v>23004</c:v>
                </c:pt>
                <c:pt idx="354">
                  <c:v>29600</c:v>
                </c:pt>
                <c:pt idx="355">
                  <c:v>14900</c:v>
                </c:pt>
                <c:pt idx="356">
                  <c:v>22100</c:v>
                </c:pt>
                <c:pt idx="357">
                  <c:v>36751</c:v>
                </c:pt>
                <c:pt idx="358">
                  <c:v>27900</c:v>
                </c:pt>
                <c:pt idx="359">
                  <c:v>23100</c:v>
                </c:pt>
                <c:pt idx="360">
                  <c:v>30000</c:v>
                </c:pt>
                <c:pt idx="361">
                  <c:v>23700</c:v>
                </c:pt>
                <c:pt idx="362">
                  <c:v>23584</c:v>
                </c:pt>
                <c:pt idx="363">
                  <c:v>21900</c:v>
                </c:pt>
                <c:pt idx="364">
                  <c:v>28823</c:v>
                </c:pt>
                <c:pt idx="365">
                  <c:v>19000</c:v>
                </c:pt>
                <c:pt idx="366">
                  <c:v>26900</c:v>
                </c:pt>
                <c:pt idx="367">
                  <c:v>23800</c:v>
                </c:pt>
                <c:pt idx="368">
                  <c:v>22400</c:v>
                </c:pt>
                <c:pt idx="369">
                  <c:v>27800</c:v>
                </c:pt>
                <c:pt idx="370">
                  <c:v>26400</c:v>
                </c:pt>
                <c:pt idx="371">
                  <c:v>34757</c:v>
                </c:pt>
                <c:pt idx="372">
                  <c:v>23800</c:v>
                </c:pt>
                <c:pt idx="373">
                  <c:v>24200</c:v>
                </c:pt>
                <c:pt idx="374">
                  <c:v>22300</c:v>
                </c:pt>
                <c:pt idx="375">
                  <c:v>20400</c:v>
                </c:pt>
                <c:pt idx="376">
                  <c:v>33800</c:v>
                </c:pt>
                <c:pt idx="377">
                  <c:v>27200</c:v>
                </c:pt>
                <c:pt idx="378">
                  <c:v>19600</c:v>
                </c:pt>
                <c:pt idx="379">
                  <c:v>33300</c:v>
                </c:pt>
                <c:pt idx="380">
                  <c:v>30800</c:v>
                </c:pt>
                <c:pt idx="381">
                  <c:v>20400</c:v>
                </c:pt>
                <c:pt idx="382">
                  <c:v>24574</c:v>
                </c:pt>
                <c:pt idx="383">
                  <c:v>34600</c:v>
                </c:pt>
                <c:pt idx="384">
                  <c:v>24300</c:v>
                </c:pt>
                <c:pt idx="385">
                  <c:v>21000</c:v>
                </c:pt>
                <c:pt idx="386">
                  <c:v>35300</c:v>
                </c:pt>
                <c:pt idx="387">
                  <c:v>24500</c:v>
                </c:pt>
                <c:pt idx="388">
                  <c:v>23500</c:v>
                </c:pt>
                <c:pt idx="389">
                  <c:v>22300</c:v>
                </c:pt>
                <c:pt idx="390">
                  <c:v>31100</c:v>
                </c:pt>
                <c:pt idx="391">
                  <c:v>21000</c:v>
                </c:pt>
                <c:pt idx="392">
                  <c:v>24400</c:v>
                </c:pt>
                <c:pt idx="393">
                  <c:v>15982</c:v>
                </c:pt>
                <c:pt idx="394">
                  <c:v>27300</c:v>
                </c:pt>
                <c:pt idx="395">
                  <c:v>25400</c:v>
                </c:pt>
                <c:pt idx="396">
                  <c:v>27900</c:v>
                </c:pt>
                <c:pt idx="397">
                  <c:v>21000</c:v>
                </c:pt>
                <c:pt idx="398">
                  <c:v>22600</c:v>
                </c:pt>
                <c:pt idx="399">
                  <c:v>35600</c:v>
                </c:pt>
                <c:pt idx="400">
                  <c:v>42841</c:v>
                </c:pt>
                <c:pt idx="401">
                  <c:v>37600</c:v>
                </c:pt>
                <c:pt idx="402">
                  <c:v>22600</c:v>
                </c:pt>
                <c:pt idx="403">
                  <c:v>20500</c:v>
                </c:pt>
                <c:pt idx="404">
                  <c:v>37045</c:v>
                </c:pt>
                <c:pt idx="405">
                  <c:v>45900</c:v>
                </c:pt>
                <c:pt idx="406">
                  <c:v>30300</c:v>
                </c:pt>
                <c:pt idx="407">
                  <c:v>27300</c:v>
                </c:pt>
                <c:pt idx="408">
                  <c:v>31100</c:v>
                </c:pt>
                <c:pt idx="409">
                  <c:v>37300</c:v>
                </c:pt>
                <c:pt idx="410">
                  <c:v>21000</c:v>
                </c:pt>
                <c:pt idx="411">
                  <c:v>28500</c:v>
                </c:pt>
                <c:pt idx="412">
                  <c:v>23800</c:v>
                </c:pt>
                <c:pt idx="413">
                  <c:v>21800</c:v>
                </c:pt>
                <c:pt idx="414">
                  <c:v>44600</c:v>
                </c:pt>
                <c:pt idx="415">
                  <c:v>30100</c:v>
                </c:pt>
                <c:pt idx="416">
                  <c:v>34400</c:v>
                </c:pt>
                <c:pt idx="417">
                  <c:v>24200</c:v>
                </c:pt>
                <c:pt idx="418">
                  <c:v>36700</c:v>
                </c:pt>
                <c:pt idx="419">
                  <c:v>26200</c:v>
                </c:pt>
                <c:pt idx="420">
                  <c:v>20800</c:v>
                </c:pt>
              </c:numCache>
            </c:numRef>
          </c:yVal>
          <c:smooth val="0"/>
        </c:ser>
        <c:dLbls>
          <c:showLegendKey val="0"/>
          <c:showVal val="0"/>
          <c:showCatName val="0"/>
          <c:showSerName val="0"/>
          <c:showPercent val="0"/>
          <c:showBubbleSize val="0"/>
        </c:dLbls>
        <c:axId val="1159541112"/>
        <c:axId val="1159542288"/>
      </c:scatterChart>
      <c:valAx>
        <c:axId val="1159541112"/>
        <c:scaling>
          <c:orientation val="minMax"/>
          <c:max val="250"/>
          <c:min val="50"/>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pVIS, %</a:t>
                </a:r>
              </a:p>
            </c:rich>
          </c:tx>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59542288"/>
        <c:crosses val="autoZero"/>
        <c:crossBetween val="midCat"/>
        <c:majorUnit val="25"/>
      </c:valAx>
      <c:valAx>
        <c:axId val="1159542288"/>
        <c:scaling>
          <c:orientation val="minMax"/>
          <c:max val="100000"/>
          <c:min val="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MRV, mPa•s</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59541112"/>
        <c:crosses val="autoZero"/>
        <c:crossBetween val="midCat"/>
        <c:majorUnit val="10000"/>
        <c:minorUnit val="5000"/>
      </c:valAx>
      <c:spPr>
        <a:noFill/>
        <a:ln>
          <a:noFill/>
        </a:ln>
        <a:effectLst/>
      </c:spPr>
    </c:plotArea>
    <c:plotVisOnly val="1"/>
    <c:dispBlanksAs val="gap"/>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scatterChart>
        <c:scatterStyle val="lineMarker"/>
        <c:varyColors val="0"/>
        <c:ser>
          <c:idx val="1"/>
          <c:order val="0"/>
          <c:tx>
            <c:v>Dilute NO2</c:v>
          </c:tx>
          <c:spPr>
            <a:ln w="25400" cap="rnd">
              <a:noFill/>
              <a:round/>
            </a:ln>
            <a:effectLst/>
          </c:spPr>
          <c:marker>
            <c:symbol val="x"/>
            <c:size val="9"/>
            <c:spPr>
              <a:solidFill>
                <a:schemeClr val="accent2"/>
              </a:solidFill>
              <a:ln w="9525">
                <a:solidFill>
                  <a:schemeClr val="accent2"/>
                </a:solidFill>
              </a:ln>
              <a:effectLst/>
            </c:spPr>
          </c:marker>
          <c:dPt>
            <c:idx val="2"/>
            <c:marker>
              <c:symbol val="x"/>
              <c:size val="9"/>
              <c:spPr>
                <a:solidFill>
                  <a:schemeClr val="accent2"/>
                </a:solidFill>
                <a:ln w="9525">
                  <a:solidFill>
                    <a:schemeClr val="accent6"/>
                  </a:solidFill>
                </a:ln>
                <a:effectLst/>
              </c:spPr>
            </c:marker>
            <c:bubble3D val="0"/>
            <c:spPr>
              <a:ln w="25400" cap="rnd">
                <a:noFill/>
                <a:round/>
              </a:ln>
              <a:effectLst/>
            </c:spPr>
          </c:dPt>
          <c:xVal>
            <c:numRef>
              <c:f>'435-1'!$P$2:$P$6</c:f>
              <c:numCache>
                <c:formatCode>0.0</c:formatCode>
                <c:ptCount val="5"/>
                <c:pt idx="0">
                  <c:v>162.48671625929862</c:v>
                </c:pt>
                <c:pt idx="1">
                  <c:v>145.04278856188691</c:v>
                </c:pt>
                <c:pt idx="2" formatCode="General">
                  <c:v>148.30000000000001</c:v>
                </c:pt>
                <c:pt idx="3" formatCode="General">
                  <c:v>193.3</c:v>
                </c:pt>
                <c:pt idx="4" formatCode="General">
                  <c:v>136.19999999999999</c:v>
                </c:pt>
              </c:numCache>
            </c:numRef>
          </c:xVal>
          <c:yVal>
            <c:numRef>
              <c:f>'435-1'!$S$2:$S$6</c:f>
              <c:numCache>
                <c:formatCode>#,##0</c:formatCode>
                <c:ptCount val="5"/>
                <c:pt idx="0">
                  <c:v>72200</c:v>
                </c:pt>
                <c:pt idx="1">
                  <c:v>61700</c:v>
                </c:pt>
                <c:pt idx="2" formatCode="General">
                  <c:v>74300</c:v>
                </c:pt>
                <c:pt idx="3" formatCode="General">
                  <c:v>81000</c:v>
                </c:pt>
                <c:pt idx="4" formatCode="General">
                  <c:v>55400</c:v>
                </c:pt>
              </c:numCache>
            </c:numRef>
          </c:yVal>
          <c:smooth val="0"/>
        </c:ser>
        <c:ser>
          <c:idx val="0"/>
          <c:order val="1"/>
          <c:tx>
            <c:v>Concentrated NO2</c:v>
          </c:tx>
          <c:spPr>
            <a:ln w="25400" cap="rnd">
              <a:noFill/>
              <a:round/>
            </a:ln>
            <a:effectLst/>
          </c:spPr>
          <c:marker>
            <c:symbol val="circle"/>
            <c:size val="3"/>
            <c:spPr>
              <a:solidFill>
                <a:schemeClr val="accent1"/>
              </a:solidFill>
              <a:ln w="9525">
                <a:solidFill>
                  <a:schemeClr val="accent5">
                    <a:alpha val="50000"/>
                  </a:schemeClr>
                </a:solidFill>
              </a:ln>
              <a:effectLst/>
            </c:spPr>
          </c:marker>
          <c:trendline>
            <c:spPr>
              <a:ln w="19050" cap="flat" cmpd="sng" algn="ctr">
                <a:solidFill>
                  <a:schemeClr val="accent1"/>
                </a:solidFill>
                <a:prstDash val="solid"/>
                <a:miter lim="800000"/>
              </a:ln>
              <a:effectLst/>
            </c:spPr>
            <c:trendlineType val="linear"/>
            <c:dispRSqr val="0"/>
            <c:dispEq val="0"/>
          </c:trendline>
          <c:xVal>
            <c:numRef>
              <c:f>'435-1'!$F$2:$F$784</c:f>
              <c:numCache>
                <c:formatCode>General</c:formatCode>
                <c:ptCount val="779"/>
                <c:pt idx="0">
                  <c:v>121.4</c:v>
                </c:pt>
                <c:pt idx="1">
                  <c:v>169.5</c:v>
                </c:pt>
                <c:pt idx="2">
                  <c:v>135.6</c:v>
                </c:pt>
                <c:pt idx="3">
                  <c:v>76.7</c:v>
                </c:pt>
                <c:pt idx="4">
                  <c:v>376.3</c:v>
                </c:pt>
                <c:pt idx="5">
                  <c:v>148.4</c:v>
                </c:pt>
                <c:pt idx="6">
                  <c:v>205.2</c:v>
                </c:pt>
                <c:pt idx="7">
                  <c:v>134.19999999999999</c:v>
                </c:pt>
                <c:pt idx="8">
                  <c:v>106.3</c:v>
                </c:pt>
                <c:pt idx="9">
                  <c:v>130.1</c:v>
                </c:pt>
                <c:pt idx="10">
                  <c:v>100.8</c:v>
                </c:pt>
                <c:pt idx="11">
                  <c:v>133</c:v>
                </c:pt>
                <c:pt idx="12">
                  <c:v>94.6</c:v>
                </c:pt>
                <c:pt idx="13">
                  <c:v>117.9</c:v>
                </c:pt>
                <c:pt idx="14">
                  <c:v>192.7</c:v>
                </c:pt>
                <c:pt idx="15">
                  <c:v>180.8</c:v>
                </c:pt>
                <c:pt idx="16">
                  <c:v>127</c:v>
                </c:pt>
                <c:pt idx="17">
                  <c:v>142.19999999999999</c:v>
                </c:pt>
                <c:pt idx="18">
                  <c:v>161.69999999999999</c:v>
                </c:pt>
                <c:pt idx="19">
                  <c:v>150.6</c:v>
                </c:pt>
                <c:pt idx="20">
                  <c:v>336.6</c:v>
                </c:pt>
                <c:pt idx="21">
                  <c:v>397.3</c:v>
                </c:pt>
                <c:pt idx="22">
                  <c:v>123.6</c:v>
                </c:pt>
                <c:pt idx="23">
                  <c:v>383.5</c:v>
                </c:pt>
                <c:pt idx="24">
                  <c:v>97.2</c:v>
                </c:pt>
                <c:pt idx="25">
                  <c:v>170.6</c:v>
                </c:pt>
                <c:pt idx="26">
                  <c:v>114.9</c:v>
                </c:pt>
                <c:pt idx="27">
                  <c:v>155.5</c:v>
                </c:pt>
                <c:pt idx="28">
                  <c:v>184</c:v>
                </c:pt>
                <c:pt idx="29">
                  <c:v>259</c:v>
                </c:pt>
                <c:pt idx="30">
                  <c:v>165.9</c:v>
                </c:pt>
                <c:pt idx="31">
                  <c:v>115.2</c:v>
                </c:pt>
                <c:pt idx="32">
                  <c:v>115.5</c:v>
                </c:pt>
                <c:pt idx="33">
                  <c:v>143.1</c:v>
                </c:pt>
                <c:pt idx="34">
                  <c:v>166.7</c:v>
                </c:pt>
                <c:pt idx="35">
                  <c:v>131.30000000000001</c:v>
                </c:pt>
                <c:pt idx="36">
                  <c:v>110.9</c:v>
                </c:pt>
                <c:pt idx="37">
                  <c:v>178.2</c:v>
                </c:pt>
                <c:pt idx="38">
                  <c:v>149.1</c:v>
                </c:pt>
                <c:pt idx="39">
                  <c:v>139</c:v>
                </c:pt>
                <c:pt idx="40">
                  <c:v>151.4</c:v>
                </c:pt>
                <c:pt idx="41">
                  <c:v>179.4</c:v>
                </c:pt>
                <c:pt idx="42">
                  <c:v>109.6</c:v>
                </c:pt>
                <c:pt idx="43">
                  <c:v>183.8</c:v>
                </c:pt>
                <c:pt idx="44">
                  <c:v>116</c:v>
                </c:pt>
                <c:pt idx="45">
                  <c:v>178.2</c:v>
                </c:pt>
                <c:pt idx="46">
                  <c:v>109</c:v>
                </c:pt>
                <c:pt idx="47">
                  <c:v>150.6</c:v>
                </c:pt>
                <c:pt idx="48">
                  <c:v>168.3</c:v>
                </c:pt>
                <c:pt idx="49">
                  <c:v>112.8</c:v>
                </c:pt>
                <c:pt idx="50">
                  <c:v>101.4</c:v>
                </c:pt>
                <c:pt idx="51">
                  <c:v>172.9</c:v>
                </c:pt>
                <c:pt idx="52">
                  <c:v>129.30000000000001</c:v>
                </c:pt>
                <c:pt idx="53">
                  <c:v>148.69999999999999</c:v>
                </c:pt>
                <c:pt idx="54">
                  <c:v>115.3</c:v>
                </c:pt>
                <c:pt idx="55">
                  <c:v>134.6</c:v>
                </c:pt>
                <c:pt idx="56">
                  <c:v>123.3</c:v>
                </c:pt>
                <c:pt idx="57">
                  <c:v>125.9</c:v>
                </c:pt>
                <c:pt idx="58">
                  <c:v>107.2</c:v>
                </c:pt>
                <c:pt idx="59">
                  <c:v>86.1</c:v>
                </c:pt>
                <c:pt idx="60">
                  <c:v>476</c:v>
                </c:pt>
                <c:pt idx="61">
                  <c:v>103.6</c:v>
                </c:pt>
                <c:pt idx="62">
                  <c:v>134.1</c:v>
                </c:pt>
                <c:pt idx="63">
                  <c:v>124.3</c:v>
                </c:pt>
                <c:pt idx="64">
                  <c:v>148.9</c:v>
                </c:pt>
                <c:pt idx="65">
                  <c:v>122.1</c:v>
                </c:pt>
                <c:pt idx="66">
                  <c:v>135.6</c:v>
                </c:pt>
                <c:pt idx="67">
                  <c:v>123.8</c:v>
                </c:pt>
                <c:pt idx="68">
                  <c:v>95.5</c:v>
                </c:pt>
                <c:pt idx="69">
                  <c:v>101</c:v>
                </c:pt>
                <c:pt idx="70">
                  <c:v>118.9</c:v>
                </c:pt>
                <c:pt idx="71">
                  <c:v>123.2</c:v>
                </c:pt>
                <c:pt idx="72">
                  <c:v>214.4</c:v>
                </c:pt>
                <c:pt idx="73">
                  <c:v>89.2</c:v>
                </c:pt>
                <c:pt idx="74">
                  <c:v>136.80000000000001</c:v>
                </c:pt>
                <c:pt idx="75">
                  <c:v>100.3</c:v>
                </c:pt>
                <c:pt idx="76">
                  <c:v>182.6</c:v>
                </c:pt>
                <c:pt idx="77">
                  <c:v>101</c:v>
                </c:pt>
                <c:pt idx="78">
                  <c:v>125.4</c:v>
                </c:pt>
                <c:pt idx="79">
                  <c:v>178.6</c:v>
                </c:pt>
                <c:pt idx="80">
                  <c:v>139.80000000000001</c:v>
                </c:pt>
                <c:pt idx="81">
                  <c:v>140.9</c:v>
                </c:pt>
                <c:pt idx="82">
                  <c:v>104.8</c:v>
                </c:pt>
                <c:pt idx="83">
                  <c:v>92.8</c:v>
                </c:pt>
                <c:pt idx="84">
                  <c:v>202.8</c:v>
                </c:pt>
                <c:pt idx="85">
                  <c:v>196</c:v>
                </c:pt>
                <c:pt idx="86">
                  <c:v>137.69999999999999</c:v>
                </c:pt>
                <c:pt idx="87">
                  <c:v>109</c:v>
                </c:pt>
                <c:pt idx="88">
                  <c:v>175.6</c:v>
                </c:pt>
                <c:pt idx="89">
                  <c:v>128.5</c:v>
                </c:pt>
                <c:pt idx="90">
                  <c:v>125.5</c:v>
                </c:pt>
                <c:pt idx="91">
                  <c:v>117.9</c:v>
                </c:pt>
                <c:pt idx="92">
                  <c:v>134.80000000000001</c:v>
                </c:pt>
                <c:pt idx="93">
                  <c:v>146.4</c:v>
                </c:pt>
                <c:pt idx="94">
                  <c:v>143.6</c:v>
                </c:pt>
                <c:pt idx="95">
                  <c:v>148</c:v>
                </c:pt>
                <c:pt idx="96">
                  <c:v>152.4</c:v>
                </c:pt>
                <c:pt idx="97">
                  <c:v>199.7</c:v>
                </c:pt>
                <c:pt idx="98">
                  <c:v>171.5</c:v>
                </c:pt>
                <c:pt idx="99">
                  <c:v>163.19999999999999</c:v>
                </c:pt>
                <c:pt idx="100">
                  <c:v>112.2</c:v>
                </c:pt>
                <c:pt idx="101">
                  <c:v>113.5</c:v>
                </c:pt>
                <c:pt idx="102">
                  <c:v>163.6</c:v>
                </c:pt>
                <c:pt idx="103">
                  <c:v>139.4</c:v>
                </c:pt>
                <c:pt idx="104">
                  <c:v>115.3</c:v>
                </c:pt>
                <c:pt idx="105">
                  <c:v>213.8</c:v>
                </c:pt>
                <c:pt idx="106">
                  <c:v>174.7</c:v>
                </c:pt>
                <c:pt idx="107">
                  <c:v>180.7</c:v>
                </c:pt>
                <c:pt idx="108">
                  <c:v>137.69999999999999</c:v>
                </c:pt>
                <c:pt idx="109">
                  <c:v>115.8</c:v>
                </c:pt>
                <c:pt idx="110">
                  <c:v>175.9</c:v>
                </c:pt>
                <c:pt idx="111">
                  <c:v>170</c:v>
                </c:pt>
                <c:pt idx="112">
                  <c:v>132.6</c:v>
                </c:pt>
                <c:pt idx="113">
                  <c:v>183.9</c:v>
                </c:pt>
                <c:pt idx="114">
                  <c:v>119.9</c:v>
                </c:pt>
                <c:pt idx="115">
                  <c:v>132.9</c:v>
                </c:pt>
                <c:pt idx="116">
                  <c:v>191.9</c:v>
                </c:pt>
                <c:pt idx="117">
                  <c:v>129.69999999999999</c:v>
                </c:pt>
                <c:pt idx="118">
                  <c:v>137.69999999999999</c:v>
                </c:pt>
                <c:pt idx="119">
                  <c:v>105.5</c:v>
                </c:pt>
                <c:pt idx="120">
                  <c:v>144.5</c:v>
                </c:pt>
                <c:pt idx="121">
                  <c:v>114.2</c:v>
                </c:pt>
                <c:pt idx="122">
                  <c:v>225.2</c:v>
                </c:pt>
                <c:pt idx="123">
                  <c:v>129.80000000000001</c:v>
                </c:pt>
                <c:pt idx="124">
                  <c:v>108.7</c:v>
                </c:pt>
                <c:pt idx="125">
                  <c:v>156.4</c:v>
                </c:pt>
                <c:pt idx="126">
                  <c:v>151.80000000000001</c:v>
                </c:pt>
                <c:pt idx="127">
                  <c:v>176.4</c:v>
                </c:pt>
                <c:pt idx="128">
                  <c:v>215.4</c:v>
                </c:pt>
                <c:pt idx="129">
                  <c:v>151</c:v>
                </c:pt>
                <c:pt idx="130">
                  <c:v>121</c:v>
                </c:pt>
                <c:pt idx="131">
                  <c:v>119.8</c:v>
                </c:pt>
                <c:pt idx="132">
                  <c:v>152.5</c:v>
                </c:pt>
                <c:pt idx="133">
                  <c:v>112.3</c:v>
                </c:pt>
                <c:pt idx="134">
                  <c:v>226</c:v>
                </c:pt>
                <c:pt idx="135">
                  <c:v>100.9</c:v>
                </c:pt>
                <c:pt idx="136">
                  <c:v>173.2</c:v>
                </c:pt>
                <c:pt idx="137">
                  <c:v>147.5</c:v>
                </c:pt>
                <c:pt idx="138">
                  <c:v>146.4</c:v>
                </c:pt>
                <c:pt idx="139">
                  <c:v>213</c:v>
                </c:pt>
                <c:pt idx="140">
                  <c:v>120.8</c:v>
                </c:pt>
                <c:pt idx="141">
                  <c:v>126.9</c:v>
                </c:pt>
                <c:pt idx="142">
                  <c:v>86.9</c:v>
                </c:pt>
                <c:pt idx="143">
                  <c:v>76.5</c:v>
                </c:pt>
                <c:pt idx="144">
                  <c:v>152.4</c:v>
                </c:pt>
                <c:pt idx="145">
                  <c:v>136.6</c:v>
                </c:pt>
                <c:pt idx="146">
                  <c:v>106.9</c:v>
                </c:pt>
                <c:pt idx="147">
                  <c:v>108.2</c:v>
                </c:pt>
                <c:pt idx="148">
                  <c:v>139.1</c:v>
                </c:pt>
                <c:pt idx="149">
                  <c:v>112.8</c:v>
                </c:pt>
                <c:pt idx="150">
                  <c:v>144.9</c:v>
                </c:pt>
                <c:pt idx="151">
                  <c:v>92.1</c:v>
                </c:pt>
                <c:pt idx="152">
                  <c:v>135.9</c:v>
                </c:pt>
                <c:pt idx="153">
                  <c:v>136.4</c:v>
                </c:pt>
                <c:pt idx="154">
                  <c:v>165.8</c:v>
                </c:pt>
                <c:pt idx="155">
                  <c:v>119.2</c:v>
                </c:pt>
                <c:pt idx="156">
                  <c:v>117.5</c:v>
                </c:pt>
                <c:pt idx="157">
                  <c:v>147.19999999999999</c:v>
                </c:pt>
                <c:pt idx="158">
                  <c:v>154.6</c:v>
                </c:pt>
                <c:pt idx="159">
                  <c:v>141.9</c:v>
                </c:pt>
                <c:pt idx="160">
                  <c:v>180</c:v>
                </c:pt>
                <c:pt idx="161">
                  <c:v>171.9</c:v>
                </c:pt>
                <c:pt idx="162">
                  <c:v>129.6</c:v>
                </c:pt>
                <c:pt idx="163">
                  <c:v>130.4</c:v>
                </c:pt>
                <c:pt idx="164">
                  <c:v>166.4</c:v>
                </c:pt>
                <c:pt idx="165">
                  <c:v>205.7</c:v>
                </c:pt>
                <c:pt idx="166">
                  <c:v>127.8</c:v>
                </c:pt>
                <c:pt idx="167">
                  <c:v>217.4</c:v>
                </c:pt>
                <c:pt idx="168">
                  <c:v>150.6</c:v>
                </c:pt>
                <c:pt idx="169">
                  <c:v>144.19999999999999</c:v>
                </c:pt>
                <c:pt idx="170">
                  <c:v>130.6</c:v>
                </c:pt>
                <c:pt idx="171">
                  <c:v>156.6</c:v>
                </c:pt>
                <c:pt idx="172">
                  <c:v>205.9</c:v>
                </c:pt>
                <c:pt idx="173">
                  <c:v>126.1</c:v>
                </c:pt>
                <c:pt idx="174">
                  <c:v>129</c:v>
                </c:pt>
                <c:pt idx="175">
                  <c:v>178.5</c:v>
                </c:pt>
                <c:pt idx="176">
                  <c:v>143.4</c:v>
                </c:pt>
                <c:pt idx="177">
                  <c:v>183.3</c:v>
                </c:pt>
                <c:pt idx="178">
                  <c:v>92.5</c:v>
                </c:pt>
                <c:pt idx="179">
                  <c:v>110.9</c:v>
                </c:pt>
                <c:pt idx="180">
                  <c:v>125.4</c:v>
                </c:pt>
                <c:pt idx="181">
                  <c:v>99.4</c:v>
                </c:pt>
                <c:pt idx="182">
                  <c:v>132.80000000000001</c:v>
                </c:pt>
                <c:pt idx="183">
                  <c:v>150.9</c:v>
                </c:pt>
                <c:pt idx="184">
                  <c:v>184.5</c:v>
                </c:pt>
                <c:pt idx="185">
                  <c:v>117.3</c:v>
                </c:pt>
                <c:pt idx="186">
                  <c:v>153</c:v>
                </c:pt>
                <c:pt idx="187">
                  <c:v>97.6</c:v>
                </c:pt>
                <c:pt idx="188">
                  <c:v>178.4</c:v>
                </c:pt>
                <c:pt idx="189">
                  <c:v>145.1</c:v>
                </c:pt>
                <c:pt idx="190">
                  <c:v>69.400000000000006</c:v>
                </c:pt>
                <c:pt idx="191">
                  <c:v>136</c:v>
                </c:pt>
                <c:pt idx="192">
                  <c:v>115.1</c:v>
                </c:pt>
                <c:pt idx="193">
                  <c:v>157.5</c:v>
                </c:pt>
                <c:pt idx="194">
                  <c:v>194.6</c:v>
                </c:pt>
                <c:pt idx="195">
                  <c:v>111.6</c:v>
                </c:pt>
                <c:pt idx="196">
                  <c:v>160.6</c:v>
                </c:pt>
                <c:pt idx="197">
                  <c:v>210.4</c:v>
                </c:pt>
                <c:pt idx="198">
                  <c:v>143.4</c:v>
                </c:pt>
                <c:pt idx="199">
                  <c:v>148.80000000000001</c:v>
                </c:pt>
                <c:pt idx="200">
                  <c:v>180.2</c:v>
                </c:pt>
                <c:pt idx="201">
                  <c:v>115.3</c:v>
                </c:pt>
                <c:pt idx="202">
                  <c:v>130.6</c:v>
                </c:pt>
                <c:pt idx="203">
                  <c:v>136.9</c:v>
                </c:pt>
                <c:pt idx="204">
                  <c:v>176.9</c:v>
                </c:pt>
                <c:pt idx="205">
                  <c:v>185.6</c:v>
                </c:pt>
                <c:pt idx="206">
                  <c:v>157.30000000000001</c:v>
                </c:pt>
                <c:pt idx="207">
                  <c:v>135.1</c:v>
                </c:pt>
                <c:pt idx="208">
                  <c:v>145</c:v>
                </c:pt>
                <c:pt idx="209">
                  <c:v>143.30000000000001</c:v>
                </c:pt>
                <c:pt idx="210">
                  <c:v>167</c:v>
                </c:pt>
                <c:pt idx="211">
                  <c:v>111.7</c:v>
                </c:pt>
                <c:pt idx="212">
                  <c:v>123.2</c:v>
                </c:pt>
                <c:pt idx="213">
                  <c:v>114.8</c:v>
                </c:pt>
                <c:pt idx="214">
                  <c:v>109.3</c:v>
                </c:pt>
                <c:pt idx="215">
                  <c:v>97.2</c:v>
                </c:pt>
                <c:pt idx="216">
                  <c:v>93.5</c:v>
                </c:pt>
                <c:pt idx="217">
                  <c:v>151.4</c:v>
                </c:pt>
                <c:pt idx="218">
                  <c:v>162.6</c:v>
                </c:pt>
                <c:pt idx="219">
                  <c:v>170.9</c:v>
                </c:pt>
                <c:pt idx="220">
                  <c:v>162.19999999999999</c:v>
                </c:pt>
                <c:pt idx="221">
                  <c:v>260.5</c:v>
                </c:pt>
                <c:pt idx="222">
                  <c:v>153.4</c:v>
                </c:pt>
                <c:pt idx="223">
                  <c:v>158.4</c:v>
                </c:pt>
                <c:pt idx="224">
                  <c:v>182.4</c:v>
                </c:pt>
                <c:pt idx="225">
                  <c:v>175.5</c:v>
                </c:pt>
                <c:pt idx="226">
                  <c:v>100.5</c:v>
                </c:pt>
                <c:pt idx="227">
                  <c:v>162.1</c:v>
                </c:pt>
                <c:pt idx="228">
                  <c:v>116.8</c:v>
                </c:pt>
                <c:pt idx="229">
                  <c:v>150.30000000000001</c:v>
                </c:pt>
                <c:pt idx="230">
                  <c:v>115.7</c:v>
                </c:pt>
                <c:pt idx="231">
                  <c:v>160.19999999999999</c:v>
                </c:pt>
                <c:pt idx="232">
                  <c:v>118.7</c:v>
                </c:pt>
                <c:pt idx="233">
                  <c:v>79.099999999999994</c:v>
                </c:pt>
                <c:pt idx="234">
                  <c:v>94.9</c:v>
                </c:pt>
                <c:pt idx="235">
                  <c:v>136.19999999999999</c:v>
                </c:pt>
                <c:pt idx="236">
                  <c:v>172.3</c:v>
                </c:pt>
                <c:pt idx="237">
                  <c:v>162.30000000000001</c:v>
                </c:pt>
                <c:pt idx="238">
                  <c:v>119.9</c:v>
                </c:pt>
                <c:pt idx="239">
                  <c:v>127.4</c:v>
                </c:pt>
                <c:pt idx="240">
                  <c:v>116.1</c:v>
                </c:pt>
                <c:pt idx="241">
                  <c:v>139.19999999999999</c:v>
                </c:pt>
                <c:pt idx="242">
                  <c:v>88.8</c:v>
                </c:pt>
                <c:pt idx="243">
                  <c:v>88.6</c:v>
                </c:pt>
                <c:pt idx="244">
                  <c:v>213.6</c:v>
                </c:pt>
                <c:pt idx="245">
                  <c:v>153.80000000000001</c:v>
                </c:pt>
                <c:pt idx="246">
                  <c:v>82.4</c:v>
                </c:pt>
                <c:pt idx="247">
                  <c:v>122</c:v>
                </c:pt>
                <c:pt idx="248">
                  <c:v>136.9</c:v>
                </c:pt>
                <c:pt idx="249">
                  <c:v>154.19999999999999</c:v>
                </c:pt>
                <c:pt idx="250">
                  <c:v>182.3</c:v>
                </c:pt>
                <c:pt idx="251">
                  <c:v>116.5</c:v>
                </c:pt>
                <c:pt idx="252">
                  <c:v>112.9</c:v>
                </c:pt>
                <c:pt idx="253">
                  <c:v>128</c:v>
                </c:pt>
                <c:pt idx="254">
                  <c:v>184.8</c:v>
                </c:pt>
                <c:pt idx="255">
                  <c:v>183.3</c:v>
                </c:pt>
                <c:pt idx="256">
                  <c:v>136.9</c:v>
                </c:pt>
                <c:pt idx="257">
                  <c:v>178.8</c:v>
                </c:pt>
                <c:pt idx="258">
                  <c:v>150.9</c:v>
                </c:pt>
                <c:pt idx="259">
                  <c:v>119</c:v>
                </c:pt>
                <c:pt idx="260">
                  <c:v>161.5</c:v>
                </c:pt>
                <c:pt idx="261">
                  <c:v>110.2</c:v>
                </c:pt>
                <c:pt idx="262">
                  <c:v>128.30000000000001</c:v>
                </c:pt>
                <c:pt idx="263">
                  <c:v>171.1</c:v>
                </c:pt>
                <c:pt idx="264">
                  <c:v>126.3</c:v>
                </c:pt>
                <c:pt idx="265">
                  <c:v>149.9</c:v>
                </c:pt>
                <c:pt idx="266">
                  <c:v>127.8</c:v>
                </c:pt>
                <c:pt idx="267">
                  <c:v>153.5</c:v>
                </c:pt>
                <c:pt idx="268">
                  <c:v>81.900000000000006</c:v>
                </c:pt>
                <c:pt idx="269">
                  <c:v>148.6</c:v>
                </c:pt>
                <c:pt idx="270">
                  <c:v>111.9</c:v>
                </c:pt>
                <c:pt idx="271">
                  <c:v>103.1</c:v>
                </c:pt>
                <c:pt idx="272">
                  <c:v>150.30000000000001</c:v>
                </c:pt>
                <c:pt idx="273">
                  <c:v>131.69999999999999</c:v>
                </c:pt>
                <c:pt idx="274">
                  <c:v>129.6</c:v>
                </c:pt>
                <c:pt idx="275">
                  <c:v>102.2</c:v>
                </c:pt>
                <c:pt idx="276">
                  <c:v>239</c:v>
                </c:pt>
                <c:pt idx="277">
                  <c:v>274.89999999999998</c:v>
                </c:pt>
                <c:pt idx="278">
                  <c:v>122.4</c:v>
                </c:pt>
                <c:pt idx="279">
                  <c:v>119.3</c:v>
                </c:pt>
                <c:pt idx="280">
                  <c:v>95.4</c:v>
                </c:pt>
                <c:pt idx="281">
                  <c:v>124</c:v>
                </c:pt>
                <c:pt idx="282">
                  <c:v>88.9</c:v>
                </c:pt>
                <c:pt idx="283">
                  <c:v>125.4</c:v>
                </c:pt>
                <c:pt idx="284">
                  <c:v>140</c:v>
                </c:pt>
                <c:pt idx="285">
                  <c:v>132.69999999999999</c:v>
                </c:pt>
                <c:pt idx="286">
                  <c:v>155.6</c:v>
                </c:pt>
                <c:pt idx="287">
                  <c:v>163.69999999999999</c:v>
                </c:pt>
                <c:pt idx="288">
                  <c:v>146.9</c:v>
                </c:pt>
                <c:pt idx="289">
                  <c:v>56.7</c:v>
                </c:pt>
                <c:pt idx="290">
                  <c:v>188.2</c:v>
                </c:pt>
                <c:pt idx="291">
                  <c:v>145.6</c:v>
                </c:pt>
                <c:pt idx="292">
                  <c:v>99.8</c:v>
                </c:pt>
                <c:pt idx="293">
                  <c:v>145.1</c:v>
                </c:pt>
                <c:pt idx="294">
                  <c:v>123.8</c:v>
                </c:pt>
                <c:pt idx="295">
                  <c:v>156.9</c:v>
                </c:pt>
                <c:pt idx="296">
                  <c:v>103.3</c:v>
                </c:pt>
                <c:pt idx="297">
                  <c:v>151.19999999999999</c:v>
                </c:pt>
                <c:pt idx="298">
                  <c:v>117.4</c:v>
                </c:pt>
                <c:pt idx="299">
                  <c:v>118</c:v>
                </c:pt>
                <c:pt idx="300">
                  <c:v>159.4</c:v>
                </c:pt>
                <c:pt idx="301">
                  <c:v>160.19999999999999</c:v>
                </c:pt>
                <c:pt idx="302">
                  <c:v>120.2</c:v>
                </c:pt>
                <c:pt idx="303">
                  <c:v>92.8</c:v>
                </c:pt>
                <c:pt idx="304">
                  <c:v>136.19999999999999</c:v>
                </c:pt>
                <c:pt idx="305">
                  <c:v>109.4</c:v>
                </c:pt>
                <c:pt idx="306">
                  <c:v>117.6</c:v>
                </c:pt>
                <c:pt idx="307">
                  <c:v>127.6</c:v>
                </c:pt>
                <c:pt idx="308">
                  <c:v>111.3</c:v>
                </c:pt>
                <c:pt idx="309">
                  <c:v>99.5</c:v>
                </c:pt>
                <c:pt idx="310">
                  <c:v>133.69999999999999</c:v>
                </c:pt>
                <c:pt idx="311">
                  <c:v>105.6</c:v>
                </c:pt>
                <c:pt idx="312">
                  <c:v>117.9</c:v>
                </c:pt>
                <c:pt idx="313">
                  <c:v>148.9</c:v>
                </c:pt>
                <c:pt idx="314">
                  <c:v>107</c:v>
                </c:pt>
                <c:pt idx="315">
                  <c:v>141.19999999999999</c:v>
                </c:pt>
                <c:pt idx="316">
                  <c:v>141.4</c:v>
                </c:pt>
                <c:pt idx="317">
                  <c:v>210.5</c:v>
                </c:pt>
                <c:pt idx="318">
                  <c:v>128.1</c:v>
                </c:pt>
                <c:pt idx="319">
                  <c:v>115.3</c:v>
                </c:pt>
                <c:pt idx="320">
                  <c:v>181.3</c:v>
                </c:pt>
                <c:pt idx="321">
                  <c:v>166.6</c:v>
                </c:pt>
                <c:pt idx="322">
                  <c:v>125.8</c:v>
                </c:pt>
                <c:pt idx="323">
                  <c:v>184</c:v>
                </c:pt>
                <c:pt idx="324">
                  <c:v>127.6</c:v>
                </c:pt>
                <c:pt idx="325">
                  <c:v>160.80000000000001</c:v>
                </c:pt>
                <c:pt idx="326">
                  <c:v>129.9</c:v>
                </c:pt>
                <c:pt idx="327">
                  <c:v>130</c:v>
                </c:pt>
                <c:pt idx="328">
                  <c:v>115</c:v>
                </c:pt>
                <c:pt idx="329">
                  <c:v>133.19999999999999</c:v>
                </c:pt>
                <c:pt idx="330">
                  <c:v>117.9</c:v>
                </c:pt>
                <c:pt idx="331">
                  <c:v>151.19999999999999</c:v>
                </c:pt>
                <c:pt idx="332">
                  <c:v>139.19999999999999</c:v>
                </c:pt>
                <c:pt idx="333">
                  <c:v>135</c:v>
                </c:pt>
                <c:pt idx="334">
                  <c:v>192.5</c:v>
                </c:pt>
                <c:pt idx="335">
                  <c:v>111</c:v>
                </c:pt>
                <c:pt idx="336">
                  <c:v>161.69999999999999</c:v>
                </c:pt>
                <c:pt idx="337">
                  <c:v>140.4</c:v>
                </c:pt>
                <c:pt idx="338">
                  <c:v>108</c:v>
                </c:pt>
                <c:pt idx="339">
                  <c:v>97.7</c:v>
                </c:pt>
                <c:pt idx="340">
                  <c:v>82.6</c:v>
                </c:pt>
                <c:pt idx="341">
                  <c:v>180.7</c:v>
                </c:pt>
                <c:pt idx="342">
                  <c:v>143.80000000000001</c:v>
                </c:pt>
                <c:pt idx="343">
                  <c:v>151</c:v>
                </c:pt>
                <c:pt idx="344">
                  <c:v>120.8</c:v>
                </c:pt>
                <c:pt idx="345">
                  <c:v>140.1</c:v>
                </c:pt>
                <c:pt idx="346">
                  <c:v>149.5</c:v>
                </c:pt>
                <c:pt idx="347">
                  <c:v>115.9</c:v>
                </c:pt>
                <c:pt idx="348">
                  <c:v>159.80000000000001</c:v>
                </c:pt>
                <c:pt idx="349">
                  <c:v>70.7</c:v>
                </c:pt>
                <c:pt idx="350">
                  <c:v>178.3</c:v>
                </c:pt>
                <c:pt idx="351">
                  <c:v>101.9</c:v>
                </c:pt>
                <c:pt idx="352">
                  <c:v>134.6</c:v>
                </c:pt>
                <c:pt idx="353">
                  <c:v>153.1</c:v>
                </c:pt>
                <c:pt idx="354">
                  <c:v>111.7</c:v>
                </c:pt>
                <c:pt idx="355">
                  <c:v>124.7</c:v>
                </c:pt>
                <c:pt idx="356">
                  <c:v>173.3</c:v>
                </c:pt>
                <c:pt idx="357">
                  <c:v>145.69999999999999</c:v>
                </c:pt>
                <c:pt idx="358">
                  <c:v>127.7</c:v>
                </c:pt>
                <c:pt idx="359">
                  <c:v>164</c:v>
                </c:pt>
                <c:pt idx="360">
                  <c:v>115.2</c:v>
                </c:pt>
                <c:pt idx="361">
                  <c:v>93.3</c:v>
                </c:pt>
                <c:pt idx="362">
                  <c:v>145.69999999999999</c:v>
                </c:pt>
                <c:pt idx="363">
                  <c:v>105.8</c:v>
                </c:pt>
                <c:pt idx="364">
                  <c:v>127.5</c:v>
                </c:pt>
                <c:pt idx="365">
                  <c:v>105.4</c:v>
                </c:pt>
                <c:pt idx="366">
                  <c:v>52.7</c:v>
                </c:pt>
                <c:pt idx="367">
                  <c:v>149</c:v>
                </c:pt>
                <c:pt idx="368">
                  <c:v>132.6</c:v>
                </c:pt>
                <c:pt idx="369">
                  <c:v>174.3</c:v>
                </c:pt>
                <c:pt idx="370">
                  <c:v>134.30000000000001</c:v>
                </c:pt>
                <c:pt idx="371">
                  <c:v>157.69999999999999</c:v>
                </c:pt>
                <c:pt idx="372">
                  <c:v>171.9</c:v>
                </c:pt>
                <c:pt idx="373">
                  <c:v>108.6</c:v>
                </c:pt>
                <c:pt idx="374">
                  <c:v>172.7</c:v>
                </c:pt>
                <c:pt idx="375">
                  <c:v>150.69999999999999</c:v>
                </c:pt>
                <c:pt idx="376">
                  <c:v>118.5</c:v>
                </c:pt>
                <c:pt idx="377">
                  <c:v>106.8</c:v>
                </c:pt>
                <c:pt idx="378">
                  <c:v>88.9</c:v>
                </c:pt>
                <c:pt idx="379">
                  <c:v>140.69999999999999</c:v>
                </c:pt>
                <c:pt idx="380">
                  <c:v>110.2</c:v>
                </c:pt>
                <c:pt idx="381">
                  <c:v>174.8</c:v>
                </c:pt>
                <c:pt idx="382">
                  <c:v>174.8</c:v>
                </c:pt>
                <c:pt idx="383">
                  <c:v>109.7</c:v>
                </c:pt>
                <c:pt idx="384">
                  <c:v>212.1</c:v>
                </c:pt>
                <c:pt idx="385">
                  <c:v>142.4</c:v>
                </c:pt>
                <c:pt idx="386">
                  <c:v>86.7</c:v>
                </c:pt>
                <c:pt idx="387">
                  <c:v>151.30000000000001</c:v>
                </c:pt>
                <c:pt idx="388">
                  <c:v>118</c:v>
                </c:pt>
                <c:pt idx="389">
                  <c:v>112.9</c:v>
                </c:pt>
                <c:pt idx="390">
                  <c:v>145.5</c:v>
                </c:pt>
                <c:pt idx="391">
                  <c:v>163.30000000000001</c:v>
                </c:pt>
                <c:pt idx="392">
                  <c:v>126.4</c:v>
                </c:pt>
                <c:pt idx="393">
                  <c:v>153.80000000000001</c:v>
                </c:pt>
                <c:pt idx="394">
                  <c:v>113.2</c:v>
                </c:pt>
                <c:pt idx="395">
                  <c:v>158.69999999999999</c:v>
                </c:pt>
                <c:pt idx="396">
                  <c:v>151.5</c:v>
                </c:pt>
                <c:pt idx="397">
                  <c:v>139.9</c:v>
                </c:pt>
                <c:pt idx="398">
                  <c:v>216.7</c:v>
                </c:pt>
                <c:pt idx="399">
                  <c:v>159.30000000000001</c:v>
                </c:pt>
                <c:pt idx="400">
                  <c:v>112.6</c:v>
                </c:pt>
                <c:pt idx="401">
                  <c:v>120.5</c:v>
                </c:pt>
                <c:pt idx="402">
                  <c:v>127.4</c:v>
                </c:pt>
                <c:pt idx="403">
                  <c:v>127.3</c:v>
                </c:pt>
                <c:pt idx="404">
                  <c:v>107.5</c:v>
                </c:pt>
                <c:pt idx="405">
                  <c:v>114</c:v>
                </c:pt>
                <c:pt idx="406">
                  <c:v>123</c:v>
                </c:pt>
                <c:pt idx="407">
                  <c:v>137.4</c:v>
                </c:pt>
                <c:pt idx="408">
                  <c:v>116.7</c:v>
                </c:pt>
                <c:pt idx="409">
                  <c:v>127.1</c:v>
                </c:pt>
                <c:pt idx="410">
                  <c:v>87.7</c:v>
                </c:pt>
                <c:pt idx="411">
                  <c:v>95.2</c:v>
                </c:pt>
                <c:pt idx="412">
                  <c:v>118.9</c:v>
                </c:pt>
                <c:pt idx="413">
                  <c:v>157.9</c:v>
                </c:pt>
                <c:pt idx="414">
                  <c:v>119.7</c:v>
                </c:pt>
                <c:pt idx="415">
                  <c:v>91.2</c:v>
                </c:pt>
                <c:pt idx="416">
                  <c:v>121.3</c:v>
                </c:pt>
                <c:pt idx="417">
                  <c:v>113.4</c:v>
                </c:pt>
                <c:pt idx="418">
                  <c:v>102.6</c:v>
                </c:pt>
                <c:pt idx="419">
                  <c:v>145.6</c:v>
                </c:pt>
                <c:pt idx="420">
                  <c:v>128.5</c:v>
                </c:pt>
                <c:pt idx="421">
                  <c:v>199</c:v>
                </c:pt>
                <c:pt idx="422">
                  <c:v>79.900000000000006</c:v>
                </c:pt>
                <c:pt idx="423">
                  <c:v>112.1</c:v>
                </c:pt>
                <c:pt idx="424">
                  <c:v>174</c:v>
                </c:pt>
                <c:pt idx="425">
                  <c:v>191.5</c:v>
                </c:pt>
                <c:pt idx="426">
                  <c:v>111.6</c:v>
                </c:pt>
                <c:pt idx="427">
                  <c:v>149.30000000000001</c:v>
                </c:pt>
                <c:pt idx="428">
                  <c:v>107.8</c:v>
                </c:pt>
                <c:pt idx="429">
                  <c:v>101.2</c:v>
                </c:pt>
                <c:pt idx="430">
                  <c:v>181.1</c:v>
                </c:pt>
                <c:pt idx="431">
                  <c:v>135.19999999999999</c:v>
                </c:pt>
                <c:pt idx="432">
                  <c:v>128.6</c:v>
                </c:pt>
                <c:pt idx="433">
                  <c:v>153.19999999999999</c:v>
                </c:pt>
                <c:pt idx="434">
                  <c:v>108.1</c:v>
                </c:pt>
                <c:pt idx="435">
                  <c:v>129.6</c:v>
                </c:pt>
                <c:pt idx="436">
                  <c:v>122.2</c:v>
                </c:pt>
                <c:pt idx="437">
                  <c:v>155.4</c:v>
                </c:pt>
                <c:pt idx="438">
                  <c:v>119.7</c:v>
                </c:pt>
                <c:pt idx="439">
                  <c:v>131.5</c:v>
                </c:pt>
                <c:pt idx="440">
                  <c:v>111.8</c:v>
                </c:pt>
                <c:pt idx="441">
                  <c:v>130.4</c:v>
                </c:pt>
                <c:pt idx="442">
                  <c:v>88.9</c:v>
                </c:pt>
                <c:pt idx="443">
                  <c:v>180.1</c:v>
                </c:pt>
                <c:pt idx="444">
                  <c:v>95</c:v>
                </c:pt>
                <c:pt idx="445">
                  <c:v>121.4</c:v>
                </c:pt>
                <c:pt idx="446">
                  <c:v>107.5</c:v>
                </c:pt>
                <c:pt idx="447">
                  <c:v>175.2</c:v>
                </c:pt>
                <c:pt idx="448">
                  <c:v>117.9</c:v>
                </c:pt>
                <c:pt idx="449">
                  <c:v>115.1</c:v>
                </c:pt>
                <c:pt idx="450">
                  <c:v>122.9</c:v>
                </c:pt>
                <c:pt idx="451">
                  <c:v>121.9</c:v>
                </c:pt>
                <c:pt idx="452">
                  <c:v>142.4</c:v>
                </c:pt>
                <c:pt idx="453">
                  <c:v>170.2</c:v>
                </c:pt>
                <c:pt idx="454">
                  <c:v>127.4</c:v>
                </c:pt>
                <c:pt idx="455">
                  <c:v>170.3</c:v>
                </c:pt>
                <c:pt idx="456">
                  <c:v>106.4</c:v>
                </c:pt>
                <c:pt idx="457">
                  <c:v>229.8</c:v>
                </c:pt>
                <c:pt idx="458">
                  <c:v>98.7</c:v>
                </c:pt>
                <c:pt idx="459">
                  <c:v>152.30000000000001</c:v>
                </c:pt>
                <c:pt idx="460">
                  <c:v>103.8</c:v>
                </c:pt>
                <c:pt idx="461">
                  <c:v>89.3</c:v>
                </c:pt>
                <c:pt idx="462">
                  <c:v>106</c:v>
                </c:pt>
                <c:pt idx="463">
                  <c:v>100</c:v>
                </c:pt>
                <c:pt idx="464">
                  <c:v>163.69999999999999</c:v>
                </c:pt>
                <c:pt idx="465">
                  <c:v>99.7</c:v>
                </c:pt>
                <c:pt idx="466">
                  <c:v>97.5</c:v>
                </c:pt>
                <c:pt idx="467">
                  <c:v>124.7</c:v>
                </c:pt>
                <c:pt idx="468">
                  <c:v>125.2</c:v>
                </c:pt>
                <c:pt idx="469">
                  <c:v>162.19999999999999</c:v>
                </c:pt>
                <c:pt idx="470">
                  <c:v>155.19999999999999</c:v>
                </c:pt>
                <c:pt idx="471">
                  <c:v>93.4</c:v>
                </c:pt>
                <c:pt idx="472">
                  <c:v>100.8</c:v>
                </c:pt>
                <c:pt idx="473">
                  <c:v>124.5</c:v>
                </c:pt>
                <c:pt idx="474">
                  <c:v>148.5</c:v>
                </c:pt>
                <c:pt idx="475">
                  <c:v>110.5</c:v>
                </c:pt>
                <c:pt idx="476">
                  <c:v>105.9</c:v>
                </c:pt>
                <c:pt idx="477">
                  <c:v>157.5</c:v>
                </c:pt>
                <c:pt idx="478">
                  <c:v>110.5</c:v>
                </c:pt>
                <c:pt idx="479">
                  <c:v>101.8</c:v>
                </c:pt>
                <c:pt idx="480">
                  <c:v>107</c:v>
                </c:pt>
                <c:pt idx="481">
                  <c:v>99.8</c:v>
                </c:pt>
                <c:pt idx="482">
                  <c:v>141.5</c:v>
                </c:pt>
                <c:pt idx="483">
                  <c:v>119.7</c:v>
                </c:pt>
                <c:pt idx="484">
                  <c:v>145.19999999999999</c:v>
                </c:pt>
                <c:pt idx="485">
                  <c:v>150.30000000000001</c:v>
                </c:pt>
                <c:pt idx="486">
                  <c:v>134.4</c:v>
                </c:pt>
                <c:pt idx="487">
                  <c:v>192.5</c:v>
                </c:pt>
                <c:pt idx="488">
                  <c:v>91</c:v>
                </c:pt>
                <c:pt idx="489">
                  <c:v>203.7</c:v>
                </c:pt>
                <c:pt idx="490">
                  <c:v>281.5</c:v>
                </c:pt>
                <c:pt idx="491">
                  <c:v>113.3</c:v>
                </c:pt>
                <c:pt idx="492">
                  <c:v>160.1</c:v>
                </c:pt>
                <c:pt idx="493">
                  <c:v>148</c:v>
                </c:pt>
                <c:pt idx="494">
                  <c:v>146.69999999999999</c:v>
                </c:pt>
                <c:pt idx="495">
                  <c:v>101.5</c:v>
                </c:pt>
                <c:pt idx="496">
                  <c:v>248.5</c:v>
                </c:pt>
                <c:pt idx="497">
                  <c:v>128.6</c:v>
                </c:pt>
                <c:pt idx="498">
                  <c:v>106.9</c:v>
                </c:pt>
                <c:pt idx="499">
                  <c:v>152.6</c:v>
                </c:pt>
                <c:pt idx="500">
                  <c:v>132.4</c:v>
                </c:pt>
                <c:pt idx="501">
                  <c:v>160.69999999999999</c:v>
                </c:pt>
                <c:pt idx="502">
                  <c:v>165.7</c:v>
                </c:pt>
                <c:pt idx="503">
                  <c:v>255.5</c:v>
                </c:pt>
                <c:pt idx="504">
                  <c:v>215.9</c:v>
                </c:pt>
                <c:pt idx="505">
                  <c:v>123.5</c:v>
                </c:pt>
                <c:pt idx="506">
                  <c:v>144.6</c:v>
                </c:pt>
                <c:pt idx="507">
                  <c:v>344.6</c:v>
                </c:pt>
                <c:pt idx="508">
                  <c:v>151.69999999999999</c:v>
                </c:pt>
                <c:pt idx="509">
                  <c:v>109.4</c:v>
                </c:pt>
                <c:pt idx="510">
                  <c:v>144.19999999999999</c:v>
                </c:pt>
                <c:pt idx="511">
                  <c:v>125.6</c:v>
                </c:pt>
                <c:pt idx="512">
                  <c:v>111.4</c:v>
                </c:pt>
                <c:pt idx="513">
                  <c:v>254.4</c:v>
                </c:pt>
                <c:pt idx="514">
                  <c:v>97.4</c:v>
                </c:pt>
                <c:pt idx="515">
                  <c:v>133.6</c:v>
                </c:pt>
                <c:pt idx="516">
                  <c:v>105.2</c:v>
                </c:pt>
                <c:pt idx="517">
                  <c:v>172.4</c:v>
                </c:pt>
                <c:pt idx="518">
                  <c:v>121.3</c:v>
                </c:pt>
                <c:pt idx="519">
                  <c:v>144.5</c:v>
                </c:pt>
                <c:pt idx="520">
                  <c:v>123.9</c:v>
                </c:pt>
                <c:pt idx="521">
                  <c:v>188.9</c:v>
                </c:pt>
                <c:pt idx="522">
                  <c:v>144.5</c:v>
                </c:pt>
                <c:pt idx="523">
                  <c:v>198.8</c:v>
                </c:pt>
                <c:pt idx="524">
                  <c:v>108.9</c:v>
                </c:pt>
                <c:pt idx="525">
                  <c:v>289.39999999999998</c:v>
                </c:pt>
                <c:pt idx="526">
                  <c:v>138.69999999999999</c:v>
                </c:pt>
                <c:pt idx="527">
                  <c:v>154.6</c:v>
                </c:pt>
                <c:pt idx="528">
                  <c:v>121.9</c:v>
                </c:pt>
                <c:pt idx="529">
                  <c:v>135.69999999999999</c:v>
                </c:pt>
                <c:pt idx="530">
                  <c:v>141.69999999999999</c:v>
                </c:pt>
                <c:pt idx="531">
                  <c:v>121.3</c:v>
                </c:pt>
                <c:pt idx="532">
                  <c:v>169.3</c:v>
                </c:pt>
                <c:pt idx="533">
                  <c:v>109.2</c:v>
                </c:pt>
                <c:pt idx="534">
                  <c:v>131.19999999999999</c:v>
                </c:pt>
                <c:pt idx="535">
                  <c:v>103.8</c:v>
                </c:pt>
                <c:pt idx="536">
                  <c:v>144.1</c:v>
                </c:pt>
                <c:pt idx="537">
                  <c:v>152</c:v>
                </c:pt>
                <c:pt idx="538">
                  <c:v>118.4</c:v>
                </c:pt>
                <c:pt idx="539">
                  <c:v>149</c:v>
                </c:pt>
                <c:pt idx="540">
                  <c:v>114.3</c:v>
                </c:pt>
                <c:pt idx="541">
                  <c:v>124.6</c:v>
                </c:pt>
                <c:pt idx="542">
                  <c:v>119.8</c:v>
                </c:pt>
                <c:pt idx="543">
                  <c:v>201.1</c:v>
                </c:pt>
                <c:pt idx="544">
                  <c:v>189.1</c:v>
                </c:pt>
                <c:pt idx="545">
                  <c:v>227</c:v>
                </c:pt>
                <c:pt idx="546">
                  <c:v>102.8</c:v>
                </c:pt>
                <c:pt idx="547">
                  <c:v>150</c:v>
                </c:pt>
                <c:pt idx="548">
                  <c:v>130.5</c:v>
                </c:pt>
                <c:pt idx="549">
                  <c:v>147.19999999999999</c:v>
                </c:pt>
                <c:pt idx="550">
                  <c:v>122.3</c:v>
                </c:pt>
                <c:pt idx="551">
                  <c:v>45</c:v>
                </c:pt>
                <c:pt idx="552">
                  <c:v>170.6</c:v>
                </c:pt>
                <c:pt idx="553">
                  <c:v>329.4</c:v>
                </c:pt>
                <c:pt idx="554">
                  <c:v>171.6</c:v>
                </c:pt>
                <c:pt idx="555">
                  <c:v>138.9</c:v>
                </c:pt>
                <c:pt idx="556">
                  <c:v>121</c:v>
                </c:pt>
                <c:pt idx="557">
                  <c:v>110.2</c:v>
                </c:pt>
                <c:pt idx="558">
                  <c:v>119.5</c:v>
                </c:pt>
                <c:pt idx="559">
                  <c:v>87.9</c:v>
                </c:pt>
                <c:pt idx="560">
                  <c:v>176.2</c:v>
                </c:pt>
                <c:pt idx="561">
                  <c:v>145.4</c:v>
                </c:pt>
                <c:pt idx="562">
                  <c:v>133.9</c:v>
                </c:pt>
                <c:pt idx="563">
                  <c:v>152.1</c:v>
                </c:pt>
                <c:pt idx="564">
                  <c:v>146.5</c:v>
                </c:pt>
                <c:pt idx="565">
                  <c:v>111</c:v>
                </c:pt>
                <c:pt idx="566">
                  <c:v>70.5</c:v>
                </c:pt>
                <c:pt idx="567">
                  <c:v>121.2</c:v>
                </c:pt>
                <c:pt idx="568">
                  <c:v>126.9</c:v>
                </c:pt>
                <c:pt idx="569">
                  <c:v>149.6</c:v>
                </c:pt>
                <c:pt idx="570">
                  <c:v>156.9</c:v>
                </c:pt>
                <c:pt idx="571">
                  <c:v>130.5</c:v>
                </c:pt>
                <c:pt idx="572">
                  <c:v>124.7</c:v>
                </c:pt>
                <c:pt idx="573">
                  <c:v>117.5</c:v>
                </c:pt>
                <c:pt idx="574">
                  <c:v>122.1</c:v>
                </c:pt>
                <c:pt idx="575">
                  <c:v>143.69999999999999</c:v>
                </c:pt>
                <c:pt idx="576">
                  <c:v>170.1</c:v>
                </c:pt>
                <c:pt idx="577">
                  <c:v>138.1</c:v>
                </c:pt>
                <c:pt idx="578">
                  <c:v>106</c:v>
                </c:pt>
                <c:pt idx="579">
                  <c:v>149.80000000000001</c:v>
                </c:pt>
                <c:pt idx="580">
                  <c:v>153.5</c:v>
                </c:pt>
                <c:pt idx="581">
                  <c:v>121.3</c:v>
                </c:pt>
                <c:pt idx="582">
                  <c:v>108.3</c:v>
                </c:pt>
                <c:pt idx="583">
                  <c:v>133.19999999999999</c:v>
                </c:pt>
                <c:pt idx="584">
                  <c:v>140.30000000000001</c:v>
                </c:pt>
                <c:pt idx="585">
                  <c:v>114.8</c:v>
                </c:pt>
                <c:pt idx="586">
                  <c:v>133.80000000000001</c:v>
                </c:pt>
                <c:pt idx="587">
                  <c:v>86.6</c:v>
                </c:pt>
                <c:pt idx="588">
                  <c:v>94</c:v>
                </c:pt>
                <c:pt idx="589">
                  <c:v>142.30000000000001</c:v>
                </c:pt>
                <c:pt idx="590">
                  <c:v>155</c:v>
                </c:pt>
                <c:pt idx="591">
                  <c:v>99.3</c:v>
                </c:pt>
                <c:pt idx="592">
                  <c:v>75.599999999999994</c:v>
                </c:pt>
                <c:pt idx="593">
                  <c:v>123.6</c:v>
                </c:pt>
                <c:pt idx="594">
                  <c:v>114.3</c:v>
                </c:pt>
                <c:pt idx="595">
                  <c:v>167.3</c:v>
                </c:pt>
                <c:pt idx="596">
                  <c:v>121.9</c:v>
                </c:pt>
                <c:pt idx="597">
                  <c:v>124.8</c:v>
                </c:pt>
                <c:pt idx="598">
                  <c:v>125.1</c:v>
                </c:pt>
                <c:pt idx="599">
                  <c:v>127</c:v>
                </c:pt>
                <c:pt idx="600">
                  <c:v>122.9</c:v>
                </c:pt>
                <c:pt idx="601">
                  <c:v>159.1</c:v>
                </c:pt>
                <c:pt idx="602">
                  <c:v>162.6</c:v>
                </c:pt>
                <c:pt idx="603">
                  <c:v>155</c:v>
                </c:pt>
                <c:pt idx="604">
                  <c:v>108.4</c:v>
                </c:pt>
                <c:pt idx="605">
                  <c:v>105.3</c:v>
                </c:pt>
                <c:pt idx="606">
                  <c:v>133.69999999999999</c:v>
                </c:pt>
                <c:pt idx="607">
                  <c:v>134.30000000000001</c:v>
                </c:pt>
                <c:pt idx="608">
                  <c:v>154.30000000000001</c:v>
                </c:pt>
                <c:pt idx="609">
                  <c:v>150.9</c:v>
                </c:pt>
                <c:pt idx="610">
                  <c:v>108.6</c:v>
                </c:pt>
                <c:pt idx="611">
                  <c:v>126.7</c:v>
                </c:pt>
                <c:pt idx="612">
                  <c:v>122.1</c:v>
                </c:pt>
                <c:pt idx="613">
                  <c:v>126.6</c:v>
                </c:pt>
                <c:pt idx="614">
                  <c:v>94.7</c:v>
                </c:pt>
                <c:pt idx="615">
                  <c:v>136.4</c:v>
                </c:pt>
                <c:pt idx="616">
                  <c:v>173.4</c:v>
                </c:pt>
                <c:pt idx="617">
                  <c:v>128.69999999999999</c:v>
                </c:pt>
                <c:pt idx="618">
                  <c:v>124.5</c:v>
                </c:pt>
                <c:pt idx="619">
                  <c:v>152.69999999999999</c:v>
                </c:pt>
                <c:pt idx="620">
                  <c:v>92</c:v>
                </c:pt>
                <c:pt idx="621">
                  <c:v>330.9</c:v>
                </c:pt>
                <c:pt idx="622">
                  <c:v>86.2</c:v>
                </c:pt>
                <c:pt idx="623">
                  <c:v>113.5</c:v>
                </c:pt>
                <c:pt idx="624">
                  <c:v>153.4</c:v>
                </c:pt>
                <c:pt idx="625">
                  <c:v>125.3</c:v>
                </c:pt>
                <c:pt idx="626">
                  <c:v>148.80000000000001</c:v>
                </c:pt>
                <c:pt idx="627">
                  <c:v>151</c:v>
                </c:pt>
                <c:pt idx="628">
                  <c:v>129.19999999999999</c:v>
                </c:pt>
                <c:pt idx="629">
                  <c:v>187.1</c:v>
                </c:pt>
                <c:pt idx="630">
                  <c:v>151.69999999999999</c:v>
                </c:pt>
                <c:pt idx="631">
                  <c:v>101.1</c:v>
                </c:pt>
                <c:pt idx="632">
                  <c:v>138.19999999999999</c:v>
                </c:pt>
                <c:pt idx="633">
                  <c:v>120.8</c:v>
                </c:pt>
                <c:pt idx="634">
                  <c:v>131.80000000000001</c:v>
                </c:pt>
                <c:pt idx="635">
                  <c:v>133.69999999999999</c:v>
                </c:pt>
                <c:pt idx="636">
                  <c:v>112</c:v>
                </c:pt>
                <c:pt idx="637">
                  <c:v>137.1</c:v>
                </c:pt>
                <c:pt idx="638">
                  <c:v>118.1</c:v>
                </c:pt>
                <c:pt idx="639">
                  <c:v>127.2</c:v>
                </c:pt>
                <c:pt idx="640">
                  <c:v>110.8</c:v>
                </c:pt>
                <c:pt idx="641">
                  <c:v>144</c:v>
                </c:pt>
                <c:pt idx="642">
                  <c:v>154</c:v>
                </c:pt>
                <c:pt idx="643">
                  <c:v>131.4</c:v>
                </c:pt>
                <c:pt idx="644">
                  <c:v>133.69999999999999</c:v>
                </c:pt>
                <c:pt idx="645">
                  <c:v>153.9</c:v>
                </c:pt>
                <c:pt idx="646">
                  <c:v>128.69999999999999</c:v>
                </c:pt>
                <c:pt idx="647">
                  <c:v>155.80000000000001</c:v>
                </c:pt>
                <c:pt idx="648">
                  <c:v>139.6</c:v>
                </c:pt>
                <c:pt idx="649">
                  <c:v>117.9</c:v>
                </c:pt>
                <c:pt idx="650">
                  <c:v>114.5</c:v>
                </c:pt>
                <c:pt idx="651">
                  <c:v>88.4</c:v>
                </c:pt>
                <c:pt idx="652">
                  <c:v>132.19999999999999</c:v>
                </c:pt>
                <c:pt idx="653">
                  <c:v>115.4</c:v>
                </c:pt>
                <c:pt idx="654">
                  <c:v>56.8</c:v>
                </c:pt>
                <c:pt idx="655">
                  <c:v>163.1</c:v>
                </c:pt>
                <c:pt idx="656">
                  <c:v>122.1</c:v>
                </c:pt>
                <c:pt idx="657">
                  <c:v>124.6</c:v>
                </c:pt>
                <c:pt idx="658">
                  <c:v>101.6</c:v>
                </c:pt>
                <c:pt idx="659">
                  <c:v>111.8</c:v>
                </c:pt>
                <c:pt idx="660">
                  <c:v>124</c:v>
                </c:pt>
                <c:pt idx="661">
                  <c:v>164</c:v>
                </c:pt>
                <c:pt idx="662">
                  <c:v>93.5</c:v>
                </c:pt>
                <c:pt idx="663">
                  <c:v>127.3</c:v>
                </c:pt>
                <c:pt idx="664">
                  <c:v>147.80000000000001</c:v>
                </c:pt>
                <c:pt idx="665">
                  <c:v>122.8</c:v>
                </c:pt>
                <c:pt idx="666">
                  <c:v>130.5</c:v>
                </c:pt>
                <c:pt idx="667">
                  <c:v>144.4</c:v>
                </c:pt>
                <c:pt idx="668">
                  <c:v>108.1</c:v>
                </c:pt>
                <c:pt idx="669">
                  <c:v>94.8</c:v>
                </c:pt>
                <c:pt idx="670">
                  <c:v>141.4</c:v>
                </c:pt>
                <c:pt idx="671">
                  <c:v>128.30000000000001</c:v>
                </c:pt>
                <c:pt idx="672">
                  <c:v>150.80000000000001</c:v>
                </c:pt>
                <c:pt idx="673">
                  <c:v>106.9</c:v>
                </c:pt>
                <c:pt idx="674">
                  <c:v>135</c:v>
                </c:pt>
                <c:pt idx="675">
                  <c:v>165.8</c:v>
                </c:pt>
                <c:pt idx="676">
                  <c:v>115.2</c:v>
                </c:pt>
                <c:pt idx="677">
                  <c:v>165</c:v>
                </c:pt>
                <c:pt idx="678">
                  <c:v>171.9</c:v>
                </c:pt>
                <c:pt idx="679">
                  <c:v>178.9</c:v>
                </c:pt>
                <c:pt idx="680">
                  <c:v>117.8</c:v>
                </c:pt>
                <c:pt idx="681">
                  <c:v>144.9</c:v>
                </c:pt>
                <c:pt idx="682">
                  <c:v>116</c:v>
                </c:pt>
                <c:pt idx="683">
                  <c:v>125</c:v>
                </c:pt>
                <c:pt idx="684">
                  <c:v>143.80000000000001</c:v>
                </c:pt>
                <c:pt idx="685">
                  <c:v>121.6</c:v>
                </c:pt>
                <c:pt idx="686">
                  <c:v>138.69999999999999</c:v>
                </c:pt>
                <c:pt idx="687">
                  <c:v>136.4</c:v>
                </c:pt>
                <c:pt idx="688">
                  <c:v>109.8</c:v>
                </c:pt>
                <c:pt idx="689">
                  <c:v>162.9</c:v>
                </c:pt>
                <c:pt idx="690">
                  <c:v>115</c:v>
                </c:pt>
                <c:pt idx="691">
                  <c:v>104.9</c:v>
                </c:pt>
                <c:pt idx="692">
                  <c:v>252.3</c:v>
                </c:pt>
                <c:pt idx="693">
                  <c:v>196.9</c:v>
                </c:pt>
                <c:pt idx="694">
                  <c:v>176.2</c:v>
                </c:pt>
                <c:pt idx="695">
                  <c:v>132.80000000000001</c:v>
                </c:pt>
                <c:pt idx="696">
                  <c:v>122.3</c:v>
                </c:pt>
                <c:pt idx="697">
                  <c:v>134.1</c:v>
                </c:pt>
                <c:pt idx="698">
                  <c:v>110.4</c:v>
                </c:pt>
                <c:pt idx="699">
                  <c:v>135.30000000000001</c:v>
                </c:pt>
                <c:pt idx="700">
                  <c:v>123.2</c:v>
                </c:pt>
                <c:pt idx="701">
                  <c:v>153.69999999999999</c:v>
                </c:pt>
                <c:pt idx="702">
                  <c:v>149.9</c:v>
                </c:pt>
                <c:pt idx="703">
                  <c:v>169.9</c:v>
                </c:pt>
                <c:pt idx="704">
                  <c:v>123</c:v>
                </c:pt>
                <c:pt idx="705">
                  <c:v>174.5</c:v>
                </c:pt>
                <c:pt idx="706">
                  <c:v>142.1</c:v>
                </c:pt>
                <c:pt idx="707">
                  <c:v>131.80000000000001</c:v>
                </c:pt>
                <c:pt idx="708">
                  <c:v>104.5</c:v>
                </c:pt>
                <c:pt idx="709">
                  <c:v>130.30000000000001</c:v>
                </c:pt>
                <c:pt idx="710">
                  <c:v>110.2</c:v>
                </c:pt>
                <c:pt idx="711">
                  <c:v>129.9</c:v>
                </c:pt>
                <c:pt idx="712">
                  <c:v>188.6</c:v>
                </c:pt>
                <c:pt idx="713">
                  <c:v>141.6</c:v>
                </c:pt>
                <c:pt idx="714">
                  <c:v>143.69999999999999</c:v>
                </c:pt>
                <c:pt idx="715">
                  <c:v>140.19999999999999</c:v>
                </c:pt>
                <c:pt idx="716">
                  <c:v>131.5</c:v>
                </c:pt>
                <c:pt idx="717">
                  <c:v>133.4</c:v>
                </c:pt>
                <c:pt idx="718">
                  <c:v>145.1</c:v>
                </c:pt>
                <c:pt idx="719">
                  <c:v>218.8</c:v>
                </c:pt>
                <c:pt idx="720">
                  <c:v>217.2</c:v>
                </c:pt>
                <c:pt idx="721">
                  <c:v>141.80000000000001</c:v>
                </c:pt>
                <c:pt idx="722">
                  <c:v>125.9</c:v>
                </c:pt>
                <c:pt idx="723">
                  <c:v>161.80000000000001</c:v>
                </c:pt>
                <c:pt idx="724">
                  <c:v>125.5</c:v>
                </c:pt>
                <c:pt idx="725">
                  <c:v>114.7</c:v>
                </c:pt>
                <c:pt idx="726">
                  <c:v>137.4</c:v>
                </c:pt>
                <c:pt idx="727">
                  <c:v>128.30000000000001</c:v>
                </c:pt>
                <c:pt idx="728">
                  <c:v>129.1</c:v>
                </c:pt>
                <c:pt idx="729">
                  <c:v>103.3</c:v>
                </c:pt>
                <c:pt idx="730">
                  <c:v>104.5</c:v>
                </c:pt>
                <c:pt idx="731">
                  <c:v>120.4</c:v>
                </c:pt>
                <c:pt idx="732">
                  <c:v>203.2</c:v>
                </c:pt>
                <c:pt idx="733">
                  <c:v>156.30000000000001</c:v>
                </c:pt>
                <c:pt idx="734">
                  <c:v>119</c:v>
                </c:pt>
                <c:pt idx="735">
                  <c:v>144.30000000000001</c:v>
                </c:pt>
                <c:pt idx="736">
                  <c:v>128.4</c:v>
                </c:pt>
                <c:pt idx="737">
                  <c:v>192.8</c:v>
                </c:pt>
                <c:pt idx="738">
                  <c:v>139.4</c:v>
                </c:pt>
                <c:pt idx="739">
                  <c:v>128.5</c:v>
                </c:pt>
                <c:pt idx="740">
                  <c:v>120.9</c:v>
                </c:pt>
                <c:pt idx="741">
                  <c:v>136.1</c:v>
                </c:pt>
                <c:pt idx="742">
                  <c:v>168.9</c:v>
                </c:pt>
                <c:pt idx="743">
                  <c:v>170.6</c:v>
                </c:pt>
                <c:pt idx="744">
                  <c:v>162</c:v>
                </c:pt>
                <c:pt idx="745">
                  <c:v>185.4</c:v>
                </c:pt>
                <c:pt idx="746">
                  <c:v>224.5</c:v>
                </c:pt>
                <c:pt idx="747">
                  <c:v>207.9</c:v>
                </c:pt>
                <c:pt idx="748">
                  <c:v>226.2</c:v>
                </c:pt>
                <c:pt idx="749">
                  <c:v>200.5</c:v>
                </c:pt>
                <c:pt idx="750">
                  <c:v>143.1</c:v>
                </c:pt>
                <c:pt idx="751">
                  <c:v>129.6</c:v>
                </c:pt>
                <c:pt idx="752">
                  <c:v>143.9</c:v>
                </c:pt>
                <c:pt idx="753">
                  <c:v>169.1</c:v>
                </c:pt>
                <c:pt idx="754">
                  <c:v>117.6</c:v>
                </c:pt>
                <c:pt idx="755">
                  <c:v>142.6</c:v>
                </c:pt>
                <c:pt idx="756">
                  <c:v>149.80000000000001</c:v>
                </c:pt>
                <c:pt idx="757">
                  <c:v>165.4</c:v>
                </c:pt>
                <c:pt idx="758">
                  <c:v>175</c:v>
                </c:pt>
                <c:pt idx="759">
                  <c:v>125.8</c:v>
                </c:pt>
                <c:pt idx="760">
                  <c:v>100.9</c:v>
                </c:pt>
                <c:pt idx="761">
                  <c:v>106.3</c:v>
                </c:pt>
                <c:pt idx="762">
                  <c:v>171.6</c:v>
                </c:pt>
                <c:pt idx="763">
                  <c:v>130</c:v>
                </c:pt>
                <c:pt idx="764">
                  <c:v>90.9</c:v>
                </c:pt>
                <c:pt idx="765">
                  <c:v>243</c:v>
                </c:pt>
                <c:pt idx="766">
                  <c:v>154.69999999999999</c:v>
                </c:pt>
                <c:pt idx="767">
                  <c:v>94.2</c:v>
                </c:pt>
                <c:pt idx="768">
                  <c:v>180.8</c:v>
                </c:pt>
                <c:pt idx="769">
                  <c:v>224.4</c:v>
                </c:pt>
                <c:pt idx="770">
                  <c:v>194.1</c:v>
                </c:pt>
                <c:pt idx="771">
                  <c:v>120.9</c:v>
                </c:pt>
                <c:pt idx="772">
                  <c:v>126.8</c:v>
                </c:pt>
                <c:pt idx="773">
                  <c:v>123.4</c:v>
                </c:pt>
                <c:pt idx="774">
                  <c:v>250.5</c:v>
                </c:pt>
                <c:pt idx="775">
                  <c:v>149</c:v>
                </c:pt>
                <c:pt idx="776">
                  <c:v>111</c:v>
                </c:pt>
                <c:pt idx="777">
                  <c:v>154</c:v>
                </c:pt>
                <c:pt idx="778">
                  <c:v>138.80000000000001</c:v>
                </c:pt>
              </c:numCache>
            </c:numRef>
          </c:xVal>
          <c:yVal>
            <c:numRef>
              <c:f>'435-1'!$I$2:$I$784</c:f>
              <c:numCache>
                <c:formatCode>General</c:formatCode>
                <c:ptCount val="779"/>
                <c:pt idx="0">
                  <c:v>48700</c:v>
                </c:pt>
                <c:pt idx="1">
                  <c:v>69300</c:v>
                </c:pt>
                <c:pt idx="2">
                  <c:v>56800</c:v>
                </c:pt>
                <c:pt idx="3">
                  <c:v>28061</c:v>
                </c:pt>
                <c:pt idx="4">
                  <c:v>197600</c:v>
                </c:pt>
                <c:pt idx="5">
                  <c:v>61700</c:v>
                </c:pt>
                <c:pt idx="6">
                  <c:v>81400</c:v>
                </c:pt>
                <c:pt idx="7">
                  <c:v>59600</c:v>
                </c:pt>
                <c:pt idx="8">
                  <c:v>47500</c:v>
                </c:pt>
                <c:pt idx="9">
                  <c:v>47800</c:v>
                </c:pt>
                <c:pt idx="10">
                  <c:v>43000</c:v>
                </c:pt>
                <c:pt idx="11">
                  <c:v>57800</c:v>
                </c:pt>
                <c:pt idx="12">
                  <c:v>71000</c:v>
                </c:pt>
                <c:pt idx="13">
                  <c:v>39100</c:v>
                </c:pt>
                <c:pt idx="14">
                  <c:v>75200</c:v>
                </c:pt>
                <c:pt idx="15">
                  <c:v>61000</c:v>
                </c:pt>
                <c:pt idx="16">
                  <c:v>41000</c:v>
                </c:pt>
                <c:pt idx="17">
                  <c:v>69543</c:v>
                </c:pt>
                <c:pt idx="18">
                  <c:v>91325</c:v>
                </c:pt>
                <c:pt idx="19">
                  <c:v>60000</c:v>
                </c:pt>
                <c:pt idx="20">
                  <c:v>176000</c:v>
                </c:pt>
                <c:pt idx="21">
                  <c:v>191000</c:v>
                </c:pt>
                <c:pt idx="22">
                  <c:v>45500</c:v>
                </c:pt>
                <c:pt idx="23">
                  <c:v>171000</c:v>
                </c:pt>
                <c:pt idx="24">
                  <c:v>32000</c:v>
                </c:pt>
                <c:pt idx="25">
                  <c:v>66700</c:v>
                </c:pt>
                <c:pt idx="26">
                  <c:v>43300</c:v>
                </c:pt>
                <c:pt idx="27">
                  <c:v>70100</c:v>
                </c:pt>
                <c:pt idx="28">
                  <c:v>80300</c:v>
                </c:pt>
                <c:pt idx="29">
                  <c:v>139000</c:v>
                </c:pt>
                <c:pt idx="30">
                  <c:v>71900</c:v>
                </c:pt>
                <c:pt idx="31">
                  <c:v>39000</c:v>
                </c:pt>
                <c:pt idx="32">
                  <c:v>39300</c:v>
                </c:pt>
                <c:pt idx="33">
                  <c:v>60000</c:v>
                </c:pt>
                <c:pt idx="34">
                  <c:v>63500</c:v>
                </c:pt>
                <c:pt idx="35">
                  <c:v>43200</c:v>
                </c:pt>
                <c:pt idx="36">
                  <c:v>35800</c:v>
                </c:pt>
                <c:pt idx="37">
                  <c:v>77600</c:v>
                </c:pt>
                <c:pt idx="38">
                  <c:v>63900</c:v>
                </c:pt>
                <c:pt idx="39">
                  <c:v>51800</c:v>
                </c:pt>
                <c:pt idx="40">
                  <c:v>54700</c:v>
                </c:pt>
                <c:pt idx="41">
                  <c:v>83790</c:v>
                </c:pt>
                <c:pt idx="42">
                  <c:v>44900</c:v>
                </c:pt>
                <c:pt idx="43">
                  <c:v>76600</c:v>
                </c:pt>
                <c:pt idx="44">
                  <c:v>44673</c:v>
                </c:pt>
                <c:pt idx="45">
                  <c:v>70800</c:v>
                </c:pt>
                <c:pt idx="46">
                  <c:v>52400</c:v>
                </c:pt>
                <c:pt idx="47">
                  <c:v>57600</c:v>
                </c:pt>
                <c:pt idx="48">
                  <c:v>59900</c:v>
                </c:pt>
                <c:pt idx="49">
                  <c:v>50500</c:v>
                </c:pt>
                <c:pt idx="50">
                  <c:v>42300</c:v>
                </c:pt>
                <c:pt idx="51">
                  <c:v>72100</c:v>
                </c:pt>
                <c:pt idx="52">
                  <c:v>47200</c:v>
                </c:pt>
                <c:pt idx="53">
                  <c:v>68000</c:v>
                </c:pt>
                <c:pt idx="54">
                  <c:v>45800</c:v>
                </c:pt>
                <c:pt idx="55">
                  <c:v>57385</c:v>
                </c:pt>
                <c:pt idx="56">
                  <c:v>47700</c:v>
                </c:pt>
                <c:pt idx="57">
                  <c:v>54800</c:v>
                </c:pt>
                <c:pt idx="58">
                  <c:v>45900</c:v>
                </c:pt>
                <c:pt idx="59">
                  <c:v>29600</c:v>
                </c:pt>
                <c:pt idx="60">
                  <c:v>255000</c:v>
                </c:pt>
                <c:pt idx="61">
                  <c:v>46600</c:v>
                </c:pt>
                <c:pt idx="62">
                  <c:v>52000</c:v>
                </c:pt>
                <c:pt idx="63">
                  <c:v>52100</c:v>
                </c:pt>
                <c:pt idx="64">
                  <c:v>57320</c:v>
                </c:pt>
                <c:pt idx="65">
                  <c:v>47100</c:v>
                </c:pt>
                <c:pt idx="66">
                  <c:v>57700</c:v>
                </c:pt>
                <c:pt idx="67">
                  <c:v>44800</c:v>
                </c:pt>
                <c:pt idx="68">
                  <c:v>41300</c:v>
                </c:pt>
                <c:pt idx="69">
                  <c:v>41000</c:v>
                </c:pt>
                <c:pt idx="70">
                  <c:v>50300</c:v>
                </c:pt>
                <c:pt idx="71">
                  <c:v>48300</c:v>
                </c:pt>
                <c:pt idx="72">
                  <c:v>90400</c:v>
                </c:pt>
                <c:pt idx="73">
                  <c:v>36900</c:v>
                </c:pt>
                <c:pt idx="74">
                  <c:v>51900</c:v>
                </c:pt>
                <c:pt idx="75">
                  <c:v>43500</c:v>
                </c:pt>
                <c:pt idx="76">
                  <c:v>88349</c:v>
                </c:pt>
                <c:pt idx="77">
                  <c:v>39300</c:v>
                </c:pt>
                <c:pt idx="78">
                  <c:v>47237</c:v>
                </c:pt>
                <c:pt idx="79">
                  <c:v>79800</c:v>
                </c:pt>
                <c:pt idx="80">
                  <c:v>55800</c:v>
                </c:pt>
                <c:pt idx="81">
                  <c:v>60500</c:v>
                </c:pt>
                <c:pt idx="82">
                  <c:v>45700</c:v>
                </c:pt>
                <c:pt idx="83">
                  <c:v>39400</c:v>
                </c:pt>
                <c:pt idx="84">
                  <c:v>98300</c:v>
                </c:pt>
                <c:pt idx="85">
                  <c:v>87500</c:v>
                </c:pt>
                <c:pt idx="86">
                  <c:v>63900</c:v>
                </c:pt>
                <c:pt idx="87">
                  <c:v>45800</c:v>
                </c:pt>
                <c:pt idx="88">
                  <c:v>71200</c:v>
                </c:pt>
                <c:pt idx="89">
                  <c:v>51800</c:v>
                </c:pt>
                <c:pt idx="90">
                  <c:v>43700</c:v>
                </c:pt>
                <c:pt idx="91">
                  <c:v>54800</c:v>
                </c:pt>
                <c:pt idx="92">
                  <c:v>54021</c:v>
                </c:pt>
                <c:pt idx="93">
                  <c:v>53400</c:v>
                </c:pt>
                <c:pt idx="94">
                  <c:v>60200</c:v>
                </c:pt>
                <c:pt idx="95">
                  <c:v>56900</c:v>
                </c:pt>
                <c:pt idx="96">
                  <c:v>58100</c:v>
                </c:pt>
                <c:pt idx="97">
                  <c:v>88600</c:v>
                </c:pt>
                <c:pt idx="98">
                  <c:v>76700</c:v>
                </c:pt>
                <c:pt idx="99">
                  <c:v>56800</c:v>
                </c:pt>
                <c:pt idx="100">
                  <c:v>44900</c:v>
                </c:pt>
                <c:pt idx="101">
                  <c:v>58934</c:v>
                </c:pt>
                <c:pt idx="102">
                  <c:v>70800</c:v>
                </c:pt>
                <c:pt idx="103">
                  <c:v>53300</c:v>
                </c:pt>
                <c:pt idx="104">
                  <c:v>50200</c:v>
                </c:pt>
                <c:pt idx="105">
                  <c:v>98700</c:v>
                </c:pt>
                <c:pt idx="106">
                  <c:v>80200</c:v>
                </c:pt>
                <c:pt idx="107">
                  <c:v>76900</c:v>
                </c:pt>
                <c:pt idx="108">
                  <c:v>56400</c:v>
                </c:pt>
                <c:pt idx="109">
                  <c:v>51800</c:v>
                </c:pt>
                <c:pt idx="110">
                  <c:v>78300</c:v>
                </c:pt>
                <c:pt idx="111">
                  <c:v>84100</c:v>
                </c:pt>
                <c:pt idx="112">
                  <c:v>48900</c:v>
                </c:pt>
                <c:pt idx="113">
                  <c:v>80523</c:v>
                </c:pt>
                <c:pt idx="114">
                  <c:v>46900</c:v>
                </c:pt>
                <c:pt idx="115">
                  <c:v>47000</c:v>
                </c:pt>
                <c:pt idx="116">
                  <c:v>77000</c:v>
                </c:pt>
                <c:pt idx="117">
                  <c:v>43699</c:v>
                </c:pt>
                <c:pt idx="118">
                  <c:v>59200</c:v>
                </c:pt>
                <c:pt idx="119">
                  <c:v>45400</c:v>
                </c:pt>
                <c:pt idx="120">
                  <c:v>56900</c:v>
                </c:pt>
                <c:pt idx="121">
                  <c:v>40400</c:v>
                </c:pt>
                <c:pt idx="122">
                  <c:v>94900</c:v>
                </c:pt>
                <c:pt idx="123">
                  <c:v>49900</c:v>
                </c:pt>
                <c:pt idx="124">
                  <c:v>47800</c:v>
                </c:pt>
                <c:pt idx="125">
                  <c:v>55700</c:v>
                </c:pt>
                <c:pt idx="126">
                  <c:v>61500</c:v>
                </c:pt>
                <c:pt idx="127">
                  <c:v>76300</c:v>
                </c:pt>
                <c:pt idx="128">
                  <c:v>87300</c:v>
                </c:pt>
                <c:pt idx="129">
                  <c:v>51000</c:v>
                </c:pt>
                <c:pt idx="130">
                  <c:v>48900</c:v>
                </c:pt>
                <c:pt idx="131">
                  <c:v>49700</c:v>
                </c:pt>
                <c:pt idx="132">
                  <c:v>64500</c:v>
                </c:pt>
                <c:pt idx="133">
                  <c:v>43400</c:v>
                </c:pt>
                <c:pt idx="134">
                  <c:v>58600</c:v>
                </c:pt>
                <c:pt idx="135">
                  <c:v>36200</c:v>
                </c:pt>
                <c:pt idx="136">
                  <c:v>72800</c:v>
                </c:pt>
                <c:pt idx="137">
                  <c:v>69000</c:v>
                </c:pt>
                <c:pt idx="138">
                  <c:v>48700</c:v>
                </c:pt>
                <c:pt idx="139">
                  <c:v>75300</c:v>
                </c:pt>
                <c:pt idx="140">
                  <c:v>49800</c:v>
                </c:pt>
                <c:pt idx="141">
                  <c:v>50600</c:v>
                </c:pt>
                <c:pt idx="142">
                  <c:v>34600</c:v>
                </c:pt>
                <c:pt idx="143">
                  <c:v>36900</c:v>
                </c:pt>
                <c:pt idx="144">
                  <c:v>58700</c:v>
                </c:pt>
                <c:pt idx="145">
                  <c:v>58900</c:v>
                </c:pt>
                <c:pt idx="146">
                  <c:v>44100</c:v>
                </c:pt>
                <c:pt idx="147">
                  <c:v>45400</c:v>
                </c:pt>
                <c:pt idx="148">
                  <c:v>61800</c:v>
                </c:pt>
                <c:pt idx="149">
                  <c:v>44900</c:v>
                </c:pt>
                <c:pt idx="150">
                  <c:v>61100</c:v>
                </c:pt>
                <c:pt idx="151">
                  <c:v>34100</c:v>
                </c:pt>
                <c:pt idx="152">
                  <c:v>51000</c:v>
                </c:pt>
                <c:pt idx="153">
                  <c:v>54900</c:v>
                </c:pt>
                <c:pt idx="154">
                  <c:v>72600</c:v>
                </c:pt>
                <c:pt idx="155">
                  <c:v>52100</c:v>
                </c:pt>
                <c:pt idx="156">
                  <c:v>50100</c:v>
                </c:pt>
                <c:pt idx="157">
                  <c:v>62100</c:v>
                </c:pt>
                <c:pt idx="158">
                  <c:v>57600</c:v>
                </c:pt>
                <c:pt idx="159">
                  <c:v>64130</c:v>
                </c:pt>
                <c:pt idx="160">
                  <c:v>79700</c:v>
                </c:pt>
                <c:pt idx="161">
                  <c:v>70300</c:v>
                </c:pt>
                <c:pt idx="162">
                  <c:v>55600</c:v>
                </c:pt>
                <c:pt idx="163">
                  <c:v>52100</c:v>
                </c:pt>
                <c:pt idx="164">
                  <c:v>68000</c:v>
                </c:pt>
                <c:pt idx="165">
                  <c:v>85900</c:v>
                </c:pt>
                <c:pt idx="166">
                  <c:v>53349</c:v>
                </c:pt>
                <c:pt idx="167">
                  <c:v>77948</c:v>
                </c:pt>
                <c:pt idx="168">
                  <c:v>61700</c:v>
                </c:pt>
                <c:pt idx="169">
                  <c:v>68500</c:v>
                </c:pt>
                <c:pt idx="170">
                  <c:v>57500</c:v>
                </c:pt>
                <c:pt idx="171">
                  <c:v>73000</c:v>
                </c:pt>
                <c:pt idx="172">
                  <c:v>100700</c:v>
                </c:pt>
                <c:pt idx="173">
                  <c:v>59800</c:v>
                </c:pt>
                <c:pt idx="174">
                  <c:v>52700</c:v>
                </c:pt>
                <c:pt idx="175">
                  <c:v>79300</c:v>
                </c:pt>
                <c:pt idx="176">
                  <c:v>66200</c:v>
                </c:pt>
                <c:pt idx="177">
                  <c:v>72800</c:v>
                </c:pt>
                <c:pt idx="178">
                  <c:v>47105</c:v>
                </c:pt>
                <c:pt idx="179">
                  <c:v>48183</c:v>
                </c:pt>
                <c:pt idx="180">
                  <c:v>55100</c:v>
                </c:pt>
                <c:pt idx="181">
                  <c:v>47500</c:v>
                </c:pt>
                <c:pt idx="182">
                  <c:v>53600</c:v>
                </c:pt>
                <c:pt idx="183">
                  <c:v>61300</c:v>
                </c:pt>
                <c:pt idx="184">
                  <c:v>77000</c:v>
                </c:pt>
                <c:pt idx="185">
                  <c:v>38338</c:v>
                </c:pt>
                <c:pt idx="186">
                  <c:v>71200</c:v>
                </c:pt>
                <c:pt idx="187">
                  <c:v>34800</c:v>
                </c:pt>
                <c:pt idx="188">
                  <c:v>82000</c:v>
                </c:pt>
                <c:pt idx="189">
                  <c:v>55000</c:v>
                </c:pt>
                <c:pt idx="190">
                  <c:v>30100</c:v>
                </c:pt>
                <c:pt idx="191">
                  <c:v>58200</c:v>
                </c:pt>
                <c:pt idx="192">
                  <c:v>49000</c:v>
                </c:pt>
                <c:pt idx="193">
                  <c:v>78100</c:v>
                </c:pt>
                <c:pt idx="194">
                  <c:v>80200</c:v>
                </c:pt>
                <c:pt idx="195">
                  <c:v>45500</c:v>
                </c:pt>
                <c:pt idx="196">
                  <c:v>65900</c:v>
                </c:pt>
                <c:pt idx="197">
                  <c:v>87500</c:v>
                </c:pt>
                <c:pt idx="198">
                  <c:v>59400</c:v>
                </c:pt>
                <c:pt idx="199">
                  <c:v>61000</c:v>
                </c:pt>
                <c:pt idx="200">
                  <c:v>75000</c:v>
                </c:pt>
                <c:pt idx="201">
                  <c:v>43200</c:v>
                </c:pt>
                <c:pt idx="202">
                  <c:v>56787</c:v>
                </c:pt>
                <c:pt idx="203">
                  <c:v>59000</c:v>
                </c:pt>
                <c:pt idx="204">
                  <c:v>82300</c:v>
                </c:pt>
                <c:pt idx="205">
                  <c:v>87500</c:v>
                </c:pt>
                <c:pt idx="206">
                  <c:v>61300</c:v>
                </c:pt>
                <c:pt idx="207">
                  <c:v>52700</c:v>
                </c:pt>
                <c:pt idx="208">
                  <c:v>57375</c:v>
                </c:pt>
                <c:pt idx="209">
                  <c:v>64100</c:v>
                </c:pt>
                <c:pt idx="210">
                  <c:v>69300</c:v>
                </c:pt>
                <c:pt idx="211">
                  <c:v>51700</c:v>
                </c:pt>
                <c:pt idx="212">
                  <c:v>46000</c:v>
                </c:pt>
                <c:pt idx="213">
                  <c:v>46300</c:v>
                </c:pt>
                <c:pt idx="214">
                  <c:v>45926</c:v>
                </c:pt>
                <c:pt idx="215">
                  <c:v>44387</c:v>
                </c:pt>
                <c:pt idx="216">
                  <c:v>47125</c:v>
                </c:pt>
                <c:pt idx="217">
                  <c:v>63300</c:v>
                </c:pt>
                <c:pt idx="218">
                  <c:v>62389</c:v>
                </c:pt>
                <c:pt idx="219">
                  <c:v>72400</c:v>
                </c:pt>
                <c:pt idx="220">
                  <c:v>64600</c:v>
                </c:pt>
                <c:pt idx="221">
                  <c:v>123500</c:v>
                </c:pt>
                <c:pt idx="222">
                  <c:v>57000</c:v>
                </c:pt>
                <c:pt idx="223">
                  <c:v>63300</c:v>
                </c:pt>
                <c:pt idx="224">
                  <c:v>90300</c:v>
                </c:pt>
                <c:pt idx="225">
                  <c:v>70600</c:v>
                </c:pt>
                <c:pt idx="226">
                  <c:v>18300</c:v>
                </c:pt>
                <c:pt idx="227">
                  <c:v>71200</c:v>
                </c:pt>
                <c:pt idx="228">
                  <c:v>46300</c:v>
                </c:pt>
                <c:pt idx="229">
                  <c:v>70489</c:v>
                </c:pt>
                <c:pt idx="230">
                  <c:v>50100</c:v>
                </c:pt>
                <c:pt idx="231">
                  <c:v>61800</c:v>
                </c:pt>
                <c:pt idx="232">
                  <c:v>45300</c:v>
                </c:pt>
                <c:pt idx="233">
                  <c:v>26700</c:v>
                </c:pt>
                <c:pt idx="234">
                  <c:v>44200</c:v>
                </c:pt>
                <c:pt idx="235">
                  <c:v>59700</c:v>
                </c:pt>
                <c:pt idx="236">
                  <c:v>63500</c:v>
                </c:pt>
                <c:pt idx="237">
                  <c:v>69500</c:v>
                </c:pt>
                <c:pt idx="238">
                  <c:v>58200</c:v>
                </c:pt>
                <c:pt idx="239">
                  <c:v>53600</c:v>
                </c:pt>
                <c:pt idx="240">
                  <c:v>48100</c:v>
                </c:pt>
                <c:pt idx="241">
                  <c:v>57800</c:v>
                </c:pt>
                <c:pt idx="242">
                  <c:v>46214</c:v>
                </c:pt>
                <c:pt idx="243">
                  <c:v>47101</c:v>
                </c:pt>
                <c:pt idx="244">
                  <c:v>100430</c:v>
                </c:pt>
                <c:pt idx="245">
                  <c:v>87500</c:v>
                </c:pt>
                <c:pt idx="246">
                  <c:v>28700</c:v>
                </c:pt>
                <c:pt idx="247">
                  <c:v>42900</c:v>
                </c:pt>
                <c:pt idx="248">
                  <c:v>54320</c:v>
                </c:pt>
                <c:pt idx="249">
                  <c:v>54657</c:v>
                </c:pt>
                <c:pt idx="250">
                  <c:v>64300</c:v>
                </c:pt>
                <c:pt idx="251">
                  <c:v>49700</c:v>
                </c:pt>
                <c:pt idx="252">
                  <c:v>46900</c:v>
                </c:pt>
                <c:pt idx="253">
                  <c:v>53400</c:v>
                </c:pt>
                <c:pt idx="254">
                  <c:v>86700</c:v>
                </c:pt>
                <c:pt idx="255">
                  <c:v>60800</c:v>
                </c:pt>
                <c:pt idx="256">
                  <c:v>51800</c:v>
                </c:pt>
                <c:pt idx="257">
                  <c:v>76100</c:v>
                </c:pt>
                <c:pt idx="258">
                  <c:v>65700</c:v>
                </c:pt>
                <c:pt idx="259">
                  <c:v>42100</c:v>
                </c:pt>
                <c:pt idx="260">
                  <c:v>56840</c:v>
                </c:pt>
                <c:pt idx="261">
                  <c:v>46300</c:v>
                </c:pt>
                <c:pt idx="262">
                  <c:v>45700</c:v>
                </c:pt>
                <c:pt idx="263">
                  <c:v>63800</c:v>
                </c:pt>
                <c:pt idx="264">
                  <c:v>49700</c:v>
                </c:pt>
                <c:pt idx="265">
                  <c:v>63300</c:v>
                </c:pt>
                <c:pt idx="266">
                  <c:v>57400</c:v>
                </c:pt>
                <c:pt idx="267">
                  <c:v>68900</c:v>
                </c:pt>
                <c:pt idx="268">
                  <c:v>33900</c:v>
                </c:pt>
                <c:pt idx="269">
                  <c:v>72900</c:v>
                </c:pt>
                <c:pt idx="270">
                  <c:v>45600</c:v>
                </c:pt>
                <c:pt idx="271">
                  <c:v>42900</c:v>
                </c:pt>
                <c:pt idx="272">
                  <c:v>87000</c:v>
                </c:pt>
                <c:pt idx="273">
                  <c:v>51802</c:v>
                </c:pt>
                <c:pt idx="274">
                  <c:v>55800</c:v>
                </c:pt>
                <c:pt idx="275">
                  <c:v>47000</c:v>
                </c:pt>
                <c:pt idx="276">
                  <c:v>96005</c:v>
                </c:pt>
                <c:pt idx="277">
                  <c:v>121000</c:v>
                </c:pt>
                <c:pt idx="278">
                  <c:v>51300</c:v>
                </c:pt>
                <c:pt idx="279">
                  <c:v>49500</c:v>
                </c:pt>
                <c:pt idx="280">
                  <c:v>40800</c:v>
                </c:pt>
                <c:pt idx="281">
                  <c:v>46800</c:v>
                </c:pt>
                <c:pt idx="282">
                  <c:v>33610</c:v>
                </c:pt>
                <c:pt idx="283">
                  <c:v>64700</c:v>
                </c:pt>
                <c:pt idx="284">
                  <c:v>62400</c:v>
                </c:pt>
                <c:pt idx="285">
                  <c:v>45200</c:v>
                </c:pt>
                <c:pt idx="286">
                  <c:v>65149</c:v>
                </c:pt>
                <c:pt idx="287">
                  <c:v>70600</c:v>
                </c:pt>
                <c:pt idx="288">
                  <c:v>68600</c:v>
                </c:pt>
                <c:pt idx="289">
                  <c:v>26200</c:v>
                </c:pt>
                <c:pt idx="290">
                  <c:v>64200</c:v>
                </c:pt>
                <c:pt idx="291">
                  <c:v>63600</c:v>
                </c:pt>
                <c:pt idx="292">
                  <c:v>33400</c:v>
                </c:pt>
                <c:pt idx="293">
                  <c:v>67300</c:v>
                </c:pt>
                <c:pt idx="294">
                  <c:v>52400</c:v>
                </c:pt>
                <c:pt idx="295">
                  <c:v>63700</c:v>
                </c:pt>
                <c:pt idx="296">
                  <c:v>48192</c:v>
                </c:pt>
                <c:pt idx="297">
                  <c:v>62600</c:v>
                </c:pt>
                <c:pt idx="298">
                  <c:v>49200</c:v>
                </c:pt>
                <c:pt idx="299">
                  <c:v>46400</c:v>
                </c:pt>
                <c:pt idx="300">
                  <c:v>68846</c:v>
                </c:pt>
                <c:pt idx="301">
                  <c:v>81800</c:v>
                </c:pt>
                <c:pt idx="302">
                  <c:v>48900</c:v>
                </c:pt>
                <c:pt idx="303">
                  <c:v>35700</c:v>
                </c:pt>
                <c:pt idx="304">
                  <c:v>48500</c:v>
                </c:pt>
                <c:pt idx="305">
                  <c:v>47000</c:v>
                </c:pt>
                <c:pt idx="306">
                  <c:v>54700</c:v>
                </c:pt>
                <c:pt idx="307">
                  <c:v>51500</c:v>
                </c:pt>
                <c:pt idx="308">
                  <c:v>44300</c:v>
                </c:pt>
                <c:pt idx="309">
                  <c:v>36000</c:v>
                </c:pt>
                <c:pt idx="310">
                  <c:v>55500</c:v>
                </c:pt>
                <c:pt idx="311">
                  <c:v>46810</c:v>
                </c:pt>
                <c:pt idx="312">
                  <c:v>44500</c:v>
                </c:pt>
                <c:pt idx="313">
                  <c:v>60200</c:v>
                </c:pt>
                <c:pt idx="314">
                  <c:v>45657</c:v>
                </c:pt>
                <c:pt idx="315">
                  <c:v>60100</c:v>
                </c:pt>
                <c:pt idx="316">
                  <c:v>62600</c:v>
                </c:pt>
                <c:pt idx="317">
                  <c:v>68600</c:v>
                </c:pt>
                <c:pt idx="318">
                  <c:v>57600</c:v>
                </c:pt>
                <c:pt idx="319">
                  <c:v>45200</c:v>
                </c:pt>
                <c:pt idx="320">
                  <c:v>87600</c:v>
                </c:pt>
                <c:pt idx="321">
                  <c:v>68700</c:v>
                </c:pt>
                <c:pt idx="322">
                  <c:v>53600</c:v>
                </c:pt>
                <c:pt idx="323">
                  <c:v>72037</c:v>
                </c:pt>
                <c:pt idx="324">
                  <c:v>58600</c:v>
                </c:pt>
                <c:pt idx="325">
                  <c:v>57691</c:v>
                </c:pt>
                <c:pt idx="326">
                  <c:v>63600</c:v>
                </c:pt>
                <c:pt idx="327">
                  <c:v>51300</c:v>
                </c:pt>
                <c:pt idx="328">
                  <c:v>53900</c:v>
                </c:pt>
                <c:pt idx="329">
                  <c:v>58700</c:v>
                </c:pt>
                <c:pt idx="330">
                  <c:v>52000</c:v>
                </c:pt>
                <c:pt idx="331">
                  <c:v>67500</c:v>
                </c:pt>
                <c:pt idx="332">
                  <c:v>57100</c:v>
                </c:pt>
                <c:pt idx="333">
                  <c:v>54100</c:v>
                </c:pt>
                <c:pt idx="334">
                  <c:v>89200</c:v>
                </c:pt>
                <c:pt idx="335">
                  <c:v>48800</c:v>
                </c:pt>
                <c:pt idx="336">
                  <c:v>78300</c:v>
                </c:pt>
                <c:pt idx="337">
                  <c:v>65900</c:v>
                </c:pt>
                <c:pt idx="338">
                  <c:v>42200</c:v>
                </c:pt>
                <c:pt idx="339">
                  <c:v>45637</c:v>
                </c:pt>
                <c:pt idx="340">
                  <c:v>30800</c:v>
                </c:pt>
                <c:pt idx="341">
                  <c:v>73600</c:v>
                </c:pt>
                <c:pt idx="342">
                  <c:v>67400</c:v>
                </c:pt>
                <c:pt idx="343">
                  <c:v>77400</c:v>
                </c:pt>
                <c:pt idx="344">
                  <c:v>51200</c:v>
                </c:pt>
                <c:pt idx="345">
                  <c:v>45100</c:v>
                </c:pt>
                <c:pt idx="346">
                  <c:v>59645</c:v>
                </c:pt>
                <c:pt idx="347">
                  <c:v>47100</c:v>
                </c:pt>
                <c:pt idx="348">
                  <c:v>63900</c:v>
                </c:pt>
                <c:pt idx="349">
                  <c:v>29280</c:v>
                </c:pt>
                <c:pt idx="350">
                  <c:v>67000</c:v>
                </c:pt>
                <c:pt idx="351">
                  <c:v>33100</c:v>
                </c:pt>
                <c:pt idx="352">
                  <c:v>57121</c:v>
                </c:pt>
                <c:pt idx="353">
                  <c:v>57499</c:v>
                </c:pt>
                <c:pt idx="354">
                  <c:v>49100</c:v>
                </c:pt>
                <c:pt idx="355">
                  <c:v>53600</c:v>
                </c:pt>
                <c:pt idx="356">
                  <c:v>84500</c:v>
                </c:pt>
                <c:pt idx="357">
                  <c:v>60900</c:v>
                </c:pt>
                <c:pt idx="358">
                  <c:v>47100</c:v>
                </c:pt>
                <c:pt idx="359">
                  <c:v>64600</c:v>
                </c:pt>
                <c:pt idx="360">
                  <c:v>50400</c:v>
                </c:pt>
                <c:pt idx="361">
                  <c:v>42300</c:v>
                </c:pt>
                <c:pt idx="362">
                  <c:v>65880</c:v>
                </c:pt>
                <c:pt idx="363">
                  <c:v>49200</c:v>
                </c:pt>
                <c:pt idx="364">
                  <c:v>51000</c:v>
                </c:pt>
                <c:pt idx="365">
                  <c:v>41900</c:v>
                </c:pt>
                <c:pt idx="366">
                  <c:v>22700</c:v>
                </c:pt>
                <c:pt idx="367">
                  <c:v>62000</c:v>
                </c:pt>
                <c:pt idx="368">
                  <c:v>58600</c:v>
                </c:pt>
                <c:pt idx="369">
                  <c:v>67700</c:v>
                </c:pt>
                <c:pt idx="370">
                  <c:v>51800</c:v>
                </c:pt>
                <c:pt idx="371">
                  <c:v>68700</c:v>
                </c:pt>
                <c:pt idx="372">
                  <c:v>42999</c:v>
                </c:pt>
                <c:pt idx="373">
                  <c:v>41100</c:v>
                </c:pt>
                <c:pt idx="374">
                  <c:v>59800</c:v>
                </c:pt>
                <c:pt idx="375">
                  <c:v>59300</c:v>
                </c:pt>
                <c:pt idx="376">
                  <c:v>51300</c:v>
                </c:pt>
                <c:pt idx="377">
                  <c:v>42100</c:v>
                </c:pt>
                <c:pt idx="378">
                  <c:v>46813</c:v>
                </c:pt>
                <c:pt idx="379">
                  <c:v>57000</c:v>
                </c:pt>
                <c:pt idx="380">
                  <c:v>44700</c:v>
                </c:pt>
                <c:pt idx="381">
                  <c:v>61500</c:v>
                </c:pt>
                <c:pt idx="382">
                  <c:v>81300</c:v>
                </c:pt>
                <c:pt idx="383">
                  <c:v>39800</c:v>
                </c:pt>
                <c:pt idx="384">
                  <c:v>98200</c:v>
                </c:pt>
                <c:pt idx="385">
                  <c:v>57600</c:v>
                </c:pt>
                <c:pt idx="386">
                  <c:v>27997</c:v>
                </c:pt>
                <c:pt idx="387">
                  <c:v>74400</c:v>
                </c:pt>
                <c:pt idx="388">
                  <c:v>48000</c:v>
                </c:pt>
                <c:pt idx="389">
                  <c:v>46700</c:v>
                </c:pt>
                <c:pt idx="390">
                  <c:v>77800</c:v>
                </c:pt>
                <c:pt idx="391">
                  <c:v>68921</c:v>
                </c:pt>
                <c:pt idx="392">
                  <c:v>54900</c:v>
                </c:pt>
                <c:pt idx="393">
                  <c:v>61400</c:v>
                </c:pt>
                <c:pt idx="394">
                  <c:v>41600</c:v>
                </c:pt>
                <c:pt idx="395">
                  <c:v>67800</c:v>
                </c:pt>
                <c:pt idx="396">
                  <c:v>68400</c:v>
                </c:pt>
                <c:pt idx="397">
                  <c:v>57900</c:v>
                </c:pt>
                <c:pt idx="398">
                  <c:v>57862</c:v>
                </c:pt>
                <c:pt idx="399">
                  <c:v>79300</c:v>
                </c:pt>
                <c:pt idx="400">
                  <c:v>46200</c:v>
                </c:pt>
                <c:pt idx="401">
                  <c:v>76400</c:v>
                </c:pt>
                <c:pt idx="402">
                  <c:v>56120</c:v>
                </c:pt>
                <c:pt idx="403">
                  <c:v>51700</c:v>
                </c:pt>
                <c:pt idx="404">
                  <c:v>45500</c:v>
                </c:pt>
                <c:pt idx="405">
                  <c:v>50553</c:v>
                </c:pt>
                <c:pt idx="406">
                  <c:v>45700</c:v>
                </c:pt>
                <c:pt idx="407">
                  <c:v>52800</c:v>
                </c:pt>
                <c:pt idx="408">
                  <c:v>55700</c:v>
                </c:pt>
                <c:pt idx="409">
                  <c:v>57600</c:v>
                </c:pt>
                <c:pt idx="410">
                  <c:v>39121</c:v>
                </c:pt>
                <c:pt idx="411">
                  <c:v>49993</c:v>
                </c:pt>
                <c:pt idx="412">
                  <c:v>37600</c:v>
                </c:pt>
                <c:pt idx="413">
                  <c:v>62900</c:v>
                </c:pt>
                <c:pt idx="414">
                  <c:v>51429</c:v>
                </c:pt>
                <c:pt idx="415">
                  <c:v>38200</c:v>
                </c:pt>
                <c:pt idx="416">
                  <c:v>53800</c:v>
                </c:pt>
                <c:pt idx="417">
                  <c:v>50200</c:v>
                </c:pt>
                <c:pt idx="418">
                  <c:v>45200</c:v>
                </c:pt>
                <c:pt idx="419">
                  <c:v>50500</c:v>
                </c:pt>
                <c:pt idx="420">
                  <c:v>54000</c:v>
                </c:pt>
                <c:pt idx="421">
                  <c:v>87000</c:v>
                </c:pt>
                <c:pt idx="422">
                  <c:v>35400</c:v>
                </c:pt>
                <c:pt idx="423">
                  <c:v>51000</c:v>
                </c:pt>
                <c:pt idx="424">
                  <c:v>96200</c:v>
                </c:pt>
                <c:pt idx="425">
                  <c:v>70500</c:v>
                </c:pt>
                <c:pt idx="426">
                  <c:v>44300</c:v>
                </c:pt>
                <c:pt idx="427">
                  <c:v>80800</c:v>
                </c:pt>
                <c:pt idx="428">
                  <c:v>48000</c:v>
                </c:pt>
                <c:pt idx="429">
                  <c:v>49400</c:v>
                </c:pt>
                <c:pt idx="430">
                  <c:v>90100</c:v>
                </c:pt>
                <c:pt idx="431">
                  <c:v>51200</c:v>
                </c:pt>
                <c:pt idx="432">
                  <c:v>60200</c:v>
                </c:pt>
                <c:pt idx="433">
                  <c:v>64967</c:v>
                </c:pt>
                <c:pt idx="434">
                  <c:v>56200</c:v>
                </c:pt>
                <c:pt idx="435">
                  <c:v>52200</c:v>
                </c:pt>
                <c:pt idx="436">
                  <c:v>52500</c:v>
                </c:pt>
                <c:pt idx="437">
                  <c:v>54900</c:v>
                </c:pt>
                <c:pt idx="438">
                  <c:v>51200</c:v>
                </c:pt>
                <c:pt idx="439">
                  <c:v>47600</c:v>
                </c:pt>
                <c:pt idx="440">
                  <c:v>42700</c:v>
                </c:pt>
                <c:pt idx="441">
                  <c:v>68700</c:v>
                </c:pt>
                <c:pt idx="442">
                  <c:v>47981</c:v>
                </c:pt>
                <c:pt idx="443">
                  <c:v>75500</c:v>
                </c:pt>
                <c:pt idx="444">
                  <c:v>35500</c:v>
                </c:pt>
                <c:pt idx="445">
                  <c:v>51400</c:v>
                </c:pt>
                <c:pt idx="446">
                  <c:v>40500</c:v>
                </c:pt>
                <c:pt idx="447">
                  <c:v>79328</c:v>
                </c:pt>
                <c:pt idx="448">
                  <c:v>44900</c:v>
                </c:pt>
                <c:pt idx="449">
                  <c:v>45500</c:v>
                </c:pt>
                <c:pt idx="450">
                  <c:v>52400</c:v>
                </c:pt>
                <c:pt idx="451">
                  <c:v>52600</c:v>
                </c:pt>
                <c:pt idx="452">
                  <c:v>60200</c:v>
                </c:pt>
                <c:pt idx="453">
                  <c:v>58500</c:v>
                </c:pt>
                <c:pt idx="454">
                  <c:v>50200</c:v>
                </c:pt>
                <c:pt idx="455">
                  <c:v>55604</c:v>
                </c:pt>
                <c:pt idx="456">
                  <c:v>47400</c:v>
                </c:pt>
                <c:pt idx="457">
                  <c:v>101900</c:v>
                </c:pt>
                <c:pt idx="458">
                  <c:v>37200</c:v>
                </c:pt>
                <c:pt idx="459">
                  <c:v>62600</c:v>
                </c:pt>
                <c:pt idx="460">
                  <c:v>48800</c:v>
                </c:pt>
                <c:pt idx="461">
                  <c:v>39800</c:v>
                </c:pt>
                <c:pt idx="462">
                  <c:v>48000</c:v>
                </c:pt>
                <c:pt idx="463">
                  <c:v>46100</c:v>
                </c:pt>
                <c:pt idx="464">
                  <c:v>59300</c:v>
                </c:pt>
                <c:pt idx="465">
                  <c:v>43600</c:v>
                </c:pt>
                <c:pt idx="466">
                  <c:v>87347</c:v>
                </c:pt>
                <c:pt idx="467">
                  <c:v>56300</c:v>
                </c:pt>
                <c:pt idx="468">
                  <c:v>61300</c:v>
                </c:pt>
                <c:pt idx="469">
                  <c:v>72200</c:v>
                </c:pt>
                <c:pt idx="470">
                  <c:v>55300</c:v>
                </c:pt>
                <c:pt idx="471">
                  <c:v>42900</c:v>
                </c:pt>
                <c:pt idx="472">
                  <c:v>44700</c:v>
                </c:pt>
                <c:pt idx="473">
                  <c:v>46600</c:v>
                </c:pt>
                <c:pt idx="474">
                  <c:v>54400</c:v>
                </c:pt>
                <c:pt idx="475">
                  <c:v>56700</c:v>
                </c:pt>
                <c:pt idx="476">
                  <c:v>51200</c:v>
                </c:pt>
                <c:pt idx="477">
                  <c:v>60200</c:v>
                </c:pt>
                <c:pt idx="478">
                  <c:v>45200</c:v>
                </c:pt>
                <c:pt idx="479">
                  <c:v>40900</c:v>
                </c:pt>
                <c:pt idx="480">
                  <c:v>40400</c:v>
                </c:pt>
                <c:pt idx="481">
                  <c:v>38200</c:v>
                </c:pt>
                <c:pt idx="482">
                  <c:v>60300</c:v>
                </c:pt>
                <c:pt idx="483">
                  <c:v>48000</c:v>
                </c:pt>
                <c:pt idx="484">
                  <c:v>64100</c:v>
                </c:pt>
                <c:pt idx="485">
                  <c:v>62100</c:v>
                </c:pt>
                <c:pt idx="486">
                  <c:v>59900</c:v>
                </c:pt>
                <c:pt idx="487">
                  <c:v>96300</c:v>
                </c:pt>
                <c:pt idx="488">
                  <c:v>28900</c:v>
                </c:pt>
                <c:pt idx="489">
                  <c:v>93900</c:v>
                </c:pt>
                <c:pt idx="490">
                  <c:v>195700</c:v>
                </c:pt>
                <c:pt idx="491">
                  <c:v>47600</c:v>
                </c:pt>
                <c:pt idx="492">
                  <c:v>70100</c:v>
                </c:pt>
                <c:pt idx="493">
                  <c:v>72000</c:v>
                </c:pt>
                <c:pt idx="494">
                  <c:v>64675</c:v>
                </c:pt>
                <c:pt idx="495">
                  <c:v>40900</c:v>
                </c:pt>
                <c:pt idx="496">
                  <c:v>117000</c:v>
                </c:pt>
                <c:pt idx="497">
                  <c:v>63400</c:v>
                </c:pt>
                <c:pt idx="498">
                  <c:v>44900</c:v>
                </c:pt>
                <c:pt idx="499">
                  <c:v>72500</c:v>
                </c:pt>
                <c:pt idx="500">
                  <c:v>55000</c:v>
                </c:pt>
                <c:pt idx="501">
                  <c:v>46100</c:v>
                </c:pt>
                <c:pt idx="502">
                  <c:v>81500</c:v>
                </c:pt>
                <c:pt idx="503">
                  <c:v>170900</c:v>
                </c:pt>
                <c:pt idx="504">
                  <c:v>108400</c:v>
                </c:pt>
                <c:pt idx="505">
                  <c:v>76500</c:v>
                </c:pt>
                <c:pt idx="506">
                  <c:v>104000</c:v>
                </c:pt>
                <c:pt idx="507">
                  <c:v>103500</c:v>
                </c:pt>
                <c:pt idx="508">
                  <c:v>67900</c:v>
                </c:pt>
                <c:pt idx="509">
                  <c:v>39800</c:v>
                </c:pt>
                <c:pt idx="510">
                  <c:v>59000</c:v>
                </c:pt>
                <c:pt idx="511">
                  <c:v>53500</c:v>
                </c:pt>
                <c:pt idx="512">
                  <c:v>47200</c:v>
                </c:pt>
                <c:pt idx="513">
                  <c:v>139600</c:v>
                </c:pt>
                <c:pt idx="514">
                  <c:v>34900</c:v>
                </c:pt>
                <c:pt idx="515">
                  <c:v>60200</c:v>
                </c:pt>
                <c:pt idx="516">
                  <c:v>45800</c:v>
                </c:pt>
                <c:pt idx="517">
                  <c:v>63700</c:v>
                </c:pt>
                <c:pt idx="518">
                  <c:v>54400</c:v>
                </c:pt>
                <c:pt idx="519">
                  <c:v>77700</c:v>
                </c:pt>
                <c:pt idx="520">
                  <c:v>50300</c:v>
                </c:pt>
                <c:pt idx="521">
                  <c:v>67200</c:v>
                </c:pt>
                <c:pt idx="522">
                  <c:v>67986</c:v>
                </c:pt>
                <c:pt idx="523">
                  <c:v>91500</c:v>
                </c:pt>
                <c:pt idx="524">
                  <c:v>52000</c:v>
                </c:pt>
                <c:pt idx="525">
                  <c:v>125100</c:v>
                </c:pt>
                <c:pt idx="526">
                  <c:v>57200</c:v>
                </c:pt>
                <c:pt idx="527">
                  <c:v>63000</c:v>
                </c:pt>
                <c:pt idx="528">
                  <c:v>47400</c:v>
                </c:pt>
                <c:pt idx="529">
                  <c:v>56300</c:v>
                </c:pt>
                <c:pt idx="530">
                  <c:v>50600</c:v>
                </c:pt>
                <c:pt idx="531">
                  <c:v>46700</c:v>
                </c:pt>
                <c:pt idx="532">
                  <c:v>62300</c:v>
                </c:pt>
                <c:pt idx="533">
                  <c:v>36500</c:v>
                </c:pt>
                <c:pt idx="534">
                  <c:v>62100</c:v>
                </c:pt>
                <c:pt idx="535">
                  <c:v>40300</c:v>
                </c:pt>
                <c:pt idx="536">
                  <c:v>53700</c:v>
                </c:pt>
                <c:pt idx="537">
                  <c:v>57200</c:v>
                </c:pt>
                <c:pt idx="538">
                  <c:v>53600</c:v>
                </c:pt>
                <c:pt idx="539">
                  <c:v>60100</c:v>
                </c:pt>
                <c:pt idx="540">
                  <c:v>46300</c:v>
                </c:pt>
                <c:pt idx="541">
                  <c:v>48300</c:v>
                </c:pt>
                <c:pt idx="542">
                  <c:v>49000</c:v>
                </c:pt>
                <c:pt idx="543">
                  <c:v>97700</c:v>
                </c:pt>
                <c:pt idx="544">
                  <c:v>90600</c:v>
                </c:pt>
                <c:pt idx="545">
                  <c:v>91100</c:v>
                </c:pt>
                <c:pt idx="546">
                  <c:v>34500</c:v>
                </c:pt>
                <c:pt idx="547">
                  <c:v>67500</c:v>
                </c:pt>
                <c:pt idx="548">
                  <c:v>62900</c:v>
                </c:pt>
                <c:pt idx="549">
                  <c:v>73000</c:v>
                </c:pt>
                <c:pt idx="550">
                  <c:v>49200</c:v>
                </c:pt>
                <c:pt idx="551">
                  <c:v>18158</c:v>
                </c:pt>
                <c:pt idx="552">
                  <c:v>75200</c:v>
                </c:pt>
                <c:pt idx="553">
                  <c:v>154000</c:v>
                </c:pt>
                <c:pt idx="554">
                  <c:v>47533</c:v>
                </c:pt>
                <c:pt idx="555">
                  <c:v>53500</c:v>
                </c:pt>
                <c:pt idx="556">
                  <c:v>57900</c:v>
                </c:pt>
                <c:pt idx="557">
                  <c:v>28153</c:v>
                </c:pt>
                <c:pt idx="558">
                  <c:v>46566</c:v>
                </c:pt>
                <c:pt idx="559">
                  <c:v>37800</c:v>
                </c:pt>
                <c:pt idx="560">
                  <c:v>72900</c:v>
                </c:pt>
                <c:pt idx="561">
                  <c:v>57500</c:v>
                </c:pt>
                <c:pt idx="562">
                  <c:v>55900</c:v>
                </c:pt>
                <c:pt idx="563">
                  <c:v>61100</c:v>
                </c:pt>
                <c:pt idx="564">
                  <c:v>66000</c:v>
                </c:pt>
                <c:pt idx="565">
                  <c:v>50400</c:v>
                </c:pt>
                <c:pt idx="566">
                  <c:v>25128</c:v>
                </c:pt>
                <c:pt idx="567">
                  <c:v>38300</c:v>
                </c:pt>
                <c:pt idx="568">
                  <c:v>55700</c:v>
                </c:pt>
                <c:pt idx="569">
                  <c:v>57500</c:v>
                </c:pt>
                <c:pt idx="570">
                  <c:v>65300</c:v>
                </c:pt>
                <c:pt idx="571">
                  <c:v>49500</c:v>
                </c:pt>
                <c:pt idx="572">
                  <c:v>47504</c:v>
                </c:pt>
                <c:pt idx="573">
                  <c:v>50222</c:v>
                </c:pt>
                <c:pt idx="574">
                  <c:v>59600</c:v>
                </c:pt>
                <c:pt idx="575">
                  <c:v>62300</c:v>
                </c:pt>
                <c:pt idx="576">
                  <c:v>92700</c:v>
                </c:pt>
                <c:pt idx="577">
                  <c:v>55200</c:v>
                </c:pt>
                <c:pt idx="578">
                  <c:v>47700</c:v>
                </c:pt>
                <c:pt idx="579">
                  <c:v>63100</c:v>
                </c:pt>
                <c:pt idx="580">
                  <c:v>48730</c:v>
                </c:pt>
                <c:pt idx="581">
                  <c:v>52100</c:v>
                </c:pt>
                <c:pt idx="582">
                  <c:v>44600</c:v>
                </c:pt>
                <c:pt idx="583">
                  <c:v>60500</c:v>
                </c:pt>
                <c:pt idx="584">
                  <c:v>58800</c:v>
                </c:pt>
                <c:pt idx="585">
                  <c:v>44700</c:v>
                </c:pt>
                <c:pt idx="586">
                  <c:v>54300</c:v>
                </c:pt>
                <c:pt idx="587">
                  <c:v>32100</c:v>
                </c:pt>
                <c:pt idx="588">
                  <c:v>32700</c:v>
                </c:pt>
                <c:pt idx="589">
                  <c:v>58800</c:v>
                </c:pt>
                <c:pt idx="590">
                  <c:v>53700</c:v>
                </c:pt>
                <c:pt idx="591">
                  <c:v>41400</c:v>
                </c:pt>
                <c:pt idx="592">
                  <c:v>28800</c:v>
                </c:pt>
                <c:pt idx="593">
                  <c:v>41400</c:v>
                </c:pt>
                <c:pt idx="594">
                  <c:v>46400</c:v>
                </c:pt>
                <c:pt idx="595">
                  <c:v>56150</c:v>
                </c:pt>
                <c:pt idx="596">
                  <c:v>54100</c:v>
                </c:pt>
                <c:pt idx="597">
                  <c:v>52500</c:v>
                </c:pt>
                <c:pt idx="598">
                  <c:v>58100</c:v>
                </c:pt>
                <c:pt idx="599">
                  <c:v>57153</c:v>
                </c:pt>
                <c:pt idx="600">
                  <c:v>57700</c:v>
                </c:pt>
                <c:pt idx="601">
                  <c:v>80600</c:v>
                </c:pt>
                <c:pt idx="602">
                  <c:v>58500</c:v>
                </c:pt>
                <c:pt idx="603">
                  <c:v>64300</c:v>
                </c:pt>
                <c:pt idx="604">
                  <c:v>45400</c:v>
                </c:pt>
                <c:pt idx="605">
                  <c:v>40800</c:v>
                </c:pt>
                <c:pt idx="606">
                  <c:v>52100</c:v>
                </c:pt>
                <c:pt idx="607">
                  <c:v>45500</c:v>
                </c:pt>
                <c:pt idx="608">
                  <c:v>70800</c:v>
                </c:pt>
                <c:pt idx="609">
                  <c:v>51000</c:v>
                </c:pt>
                <c:pt idx="610">
                  <c:v>39800</c:v>
                </c:pt>
                <c:pt idx="611">
                  <c:v>52200</c:v>
                </c:pt>
                <c:pt idx="612">
                  <c:v>49700</c:v>
                </c:pt>
                <c:pt idx="613">
                  <c:v>54500</c:v>
                </c:pt>
                <c:pt idx="614">
                  <c:v>42600</c:v>
                </c:pt>
                <c:pt idx="615">
                  <c:v>50300</c:v>
                </c:pt>
                <c:pt idx="616">
                  <c:v>75700</c:v>
                </c:pt>
                <c:pt idx="617">
                  <c:v>55700</c:v>
                </c:pt>
                <c:pt idx="618">
                  <c:v>53100</c:v>
                </c:pt>
                <c:pt idx="619">
                  <c:v>53300</c:v>
                </c:pt>
                <c:pt idx="620">
                  <c:v>40200</c:v>
                </c:pt>
                <c:pt idx="621">
                  <c:v>126000</c:v>
                </c:pt>
                <c:pt idx="622">
                  <c:v>36100</c:v>
                </c:pt>
                <c:pt idx="623">
                  <c:v>45900</c:v>
                </c:pt>
                <c:pt idx="624">
                  <c:v>77100</c:v>
                </c:pt>
                <c:pt idx="625">
                  <c:v>48200</c:v>
                </c:pt>
                <c:pt idx="626">
                  <c:v>59501</c:v>
                </c:pt>
                <c:pt idx="627">
                  <c:v>49600</c:v>
                </c:pt>
                <c:pt idx="628">
                  <c:v>38500</c:v>
                </c:pt>
                <c:pt idx="629">
                  <c:v>81370</c:v>
                </c:pt>
                <c:pt idx="630">
                  <c:v>69700</c:v>
                </c:pt>
                <c:pt idx="631">
                  <c:v>45800</c:v>
                </c:pt>
                <c:pt idx="632">
                  <c:v>61800</c:v>
                </c:pt>
                <c:pt idx="633">
                  <c:v>48400</c:v>
                </c:pt>
                <c:pt idx="634">
                  <c:v>48200</c:v>
                </c:pt>
                <c:pt idx="635">
                  <c:v>54314</c:v>
                </c:pt>
                <c:pt idx="636">
                  <c:v>39400</c:v>
                </c:pt>
                <c:pt idx="637">
                  <c:v>52300</c:v>
                </c:pt>
                <c:pt idx="638">
                  <c:v>49900</c:v>
                </c:pt>
                <c:pt idx="639">
                  <c:v>51900</c:v>
                </c:pt>
                <c:pt idx="640">
                  <c:v>49300</c:v>
                </c:pt>
                <c:pt idx="641">
                  <c:v>62200</c:v>
                </c:pt>
                <c:pt idx="642">
                  <c:v>49350</c:v>
                </c:pt>
                <c:pt idx="643">
                  <c:v>45881</c:v>
                </c:pt>
                <c:pt idx="644">
                  <c:v>46749</c:v>
                </c:pt>
                <c:pt idx="645">
                  <c:v>63623</c:v>
                </c:pt>
                <c:pt idx="646">
                  <c:v>55300</c:v>
                </c:pt>
                <c:pt idx="647">
                  <c:v>78600</c:v>
                </c:pt>
                <c:pt idx="648">
                  <c:v>66800</c:v>
                </c:pt>
                <c:pt idx="649">
                  <c:v>55500</c:v>
                </c:pt>
                <c:pt idx="650">
                  <c:v>40400</c:v>
                </c:pt>
                <c:pt idx="651">
                  <c:v>35900</c:v>
                </c:pt>
                <c:pt idx="652">
                  <c:v>53800</c:v>
                </c:pt>
                <c:pt idx="653">
                  <c:v>48900</c:v>
                </c:pt>
                <c:pt idx="654">
                  <c:v>25800</c:v>
                </c:pt>
                <c:pt idx="655">
                  <c:v>74500</c:v>
                </c:pt>
                <c:pt idx="656">
                  <c:v>48800</c:v>
                </c:pt>
                <c:pt idx="657">
                  <c:v>56038</c:v>
                </c:pt>
                <c:pt idx="658">
                  <c:v>46300</c:v>
                </c:pt>
                <c:pt idx="659">
                  <c:v>52200</c:v>
                </c:pt>
                <c:pt idx="660">
                  <c:v>54406</c:v>
                </c:pt>
                <c:pt idx="661">
                  <c:v>78200</c:v>
                </c:pt>
                <c:pt idx="662">
                  <c:v>45800</c:v>
                </c:pt>
                <c:pt idx="663">
                  <c:v>52600</c:v>
                </c:pt>
                <c:pt idx="664">
                  <c:v>68600</c:v>
                </c:pt>
                <c:pt idx="665">
                  <c:v>51800</c:v>
                </c:pt>
                <c:pt idx="666">
                  <c:v>47900</c:v>
                </c:pt>
                <c:pt idx="667">
                  <c:v>65800</c:v>
                </c:pt>
                <c:pt idx="668">
                  <c:v>48700</c:v>
                </c:pt>
                <c:pt idx="669">
                  <c:v>45400</c:v>
                </c:pt>
                <c:pt idx="670">
                  <c:v>52734</c:v>
                </c:pt>
                <c:pt idx="671">
                  <c:v>47200</c:v>
                </c:pt>
                <c:pt idx="672">
                  <c:v>61100</c:v>
                </c:pt>
                <c:pt idx="673">
                  <c:v>42400</c:v>
                </c:pt>
                <c:pt idx="674">
                  <c:v>55600</c:v>
                </c:pt>
                <c:pt idx="675">
                  <c:v>66900</c:v>
                </c:pt>
                <c:pt idx="676">
                  <c:v>45900</c:v>
                </c:pt>
                <c:pt idx="677">
                  <c:v>66200</c:v>
                </c:pt>
                <c:pt idx="678">
                  <c:v>71200</c:v>
                </c:pt>
                <c:pt idx="679">
                  <c:v>58648</c:v>
                </c:pt>
                <c:pt idx="680">
                  <c:v>50200</c:v>
                </c:pt>
                <c:pt idx="681">
                  <c:v>47303</c:v>
                </c:pt>
                <c:pt idx="682">
                  <c:v>52600</c:v>
                </c:pt>
                <c:pt idx="683">
                  <c:v>52200</c:v>
                </c:pt>
                <c:pt idx="684">
                  <c:v>69400</c:v>
                </c:pt>
                <c:pt idx="685">
                  <c:v>49600</c:v>
                </c:pt>
                <c:pt idx="686">
                  <c:v>58100</c:v>
                </c:pt>
                <c:pt idx="687">
                  <c:v>63000</c:v>
                </c:pt>
                <c:pt idx="688">
                  <c:v>45600</c:v>
                </c:pt>
                <c:pt idx="689">
                  <c:v>77109</c:v>
                </c:pt>
                <c:pt idx="690">
                  <c:v>48600</c:v>
                </c:pt>
                <c:pt idx="691">
                  <c:v>51600</c:v>
                </c:pt>
                <c:pt idx="692">
                  <c:v>174000</c:v>
                </c:pt>
                <c:pt idx="693">
                  <c:v>99900</c:v>
                </c:pt>
                <c:pt idx="694">
                  <c:v>92300</c:v>
                </c:pt>
                <c:pt idx="695">
                  <c:v>61700</c:v>
                </c:pt>
                <c:pt idx="696">
                  <c:v>64900</c:v>
                </c:pt>
                <c:pt idx="697">
                  <c:v>59866</c:v>
                </c:pt>
                <c:pt idx="698">
                  <c:v>43684</c:v>
                </c:pt>
                <c:pt idx="699">
                  <c:v>52500</c:v>
                </c:pt>
                <c:pt idx="700">
                  <c:v>46600</c:v>
                </c:pt>
                <c:pt idx="701">
                  <c:v>59300</c:v>
                </c:pt>
                <c:pt idx="702">
                  <c:v>48000</c:v>
                </c:pt>
                <c:pt idx="703">
                  <c:v>88300</c:v>
                </c:pt>
                <c:pt idx="704">
                  <c:v>57700</c:v>
                </c:pt>
                <c:pt idx="705">
                  <c:v>73137</c:v>
                </c:pt>
                <c:pt idx="706">
                  <c:v>62900</c:v>
                </c:pt>
                <c:pt idx="707">
                  <c:v>55200</c:v>
                </c:pt>
                <c:pt idx="708">
                  <c:v>45600</c:v>
                </c:pt>
                <c:pt idx="709">
                  <c:v>50100</c:v>
                </c:pt>
                <c:pt idx="710">
                  <c:v>49500</c:v>
                </c:pt>
                <c:pt idx="711">
                  <c:v>49400</c:v>
                </c:pt>
                <c:pt idx="712">
                  <c:v>82698</c:v>
                </c:pt>
                <c:pt idx="713">
                  <c:v>60121</c:v>
                </c:pt>
                <c:pt idx="714">
                  <c:v>64600</c:v>
                </c:pt>
                <c:pt idx="715">
                  <c:v>67700</c:v>
                </c:pt>
                <c:pt idx="716">
                  <c:v>58000</c:v>
                </c:pt>
                <c:pt idx="717">
                  <c:v>46000</c:v>
                </c:pt>
                <c:pt idx="718">
                  <c:v>65500</c:v>
                </c:pt>
                <c:pt idx="719">
                  <c:v>91400</c:v>
                </c:pt>
                <c:pt idx="720">
                  <c:v>86000</c:v>
                </c:pt>
                <c:pt idx="721">
                  <c:v>49700</c:v>
                </c:pt>
                <c:pt idx="722">
                  <c:v>51200</c:v>
                </c:pt>
                <c:pt idx="723">
                  <c:v>56300</c:v>
                </c:pt>
                <c:pt idx="724">
                  <c:v>55700</c:v>
                </c:pt>
                <c:pt idx="725">
                  <c:v>50200</c:v>
                </c:pt>
                <c:pt idx="726">
                  <c:v>50700</c:v>
                </c:pt>
                <c:pt idx="727">
                  <c:v>48500</c:v>
                </c:pt>
                <c:pt idx="728">
                  <c:v>58000</c:v>
                </c:pt>
                <c:pt idx="729">
                  <c:v>42200</c:v>
                </c:pt>
                <c:pt idx="730">
                  <c:v>49900</c:v>
                </c:pt>
                <c:pt idx="731">
                  <c:v>59100</c:v>
                </c:pt>
                <c:pt idx="732">
                  <c:v>64000</c:v>
                </c:pt>
                <c:pt idx="733">
                  <c:v>82200</c:v>
                </c:pt>
                <c:pt idx="734">
                  <c:v>59400</c:v>
                </c:pt>
                <c:pt idx="735">
                  <c:v>76100</c:v>
                </c:pt>
                <c:pt idx="736">
                  <c:v>49500</c:v>
                </c:pt>
                <c:pt idx="737">
                  <c:v>84900</c:v>
                </c:pt>
                <c:pt idx="738">
                  <c:v>66921</c:v>
                </c:pt>
                <c:pt idx="739">
                  <c:v>51100</c:v>
                </c:pt>
                <c:pt idx="740">
                  <c:v>49500</c:v>
                </c:pt>
                <c:pt idx="741">
                  <c:v>57100</c:v>
                </c:pt>
                <c:pt idx="742">
                  <c:v>66519</c:v>
                </c:pt>
                <c:pt idx="743">
                  <c:v>63600</c:v>
                </c:pt>
                <c:pt idx="744">
                  <c:v>61900</c:v>
                </c:pt>
                <c:pt idx="745">
                  <c:v>62700</c:v>
                </c:pt>
                <c:pt idx="746">
                  <c:v>102700</c:v>
                </c:pt>
                <c:pt idx="747">
                  <c:v>110100</c:v>
                </c:pt>
                <c:pt idx="748">
                  <c:v>106400</c:v>
                </c:pt>
                <c:pt idx="749">
                  <c:v>83300</c:v>
                </c:pt>
                <c:pt idx="750">
                  <c:v>49000</c:v>
                </c:pt>
                <c:pt idx="751">
                  <c:v>57500</c:v>
                </c:pt>
                <c:pt idx="752">
                  <c:v>55600</c:v>
                </c:pt>
                <c:pt idx="753">
                  <c:v>77300</c:v>
                </c:pt>
                <c:pt idx="754">
                  <c:v>47900</c:v>
                </c:pt>
                <c:pt idx="755">
                  <c:v>56400</c:v>
                </c:pt>
                <c:pt idx="756">
                  <c:v>71500</c:v>
                </c:pt>
                <c:pt idx="757">
                  <c:v>77000</c:v>
                </c:pt>
                <c:pt idx="758">
                  <c:v>74300</c:v>
                </c:pt>
                <c:pt idx="759">
                  <c:v>50800</c:v>
                </c:pt>
                <c:pt idx="760">
                  <c:v>48400</c:v>
                </c:pt>
                <c:pt idx="761">
                  <c:v>46300</c:v>
                </c:pt>
                <c:pt idx="762">
                  <c:v>84300</c:v>
                </c:pt>
                <c:pt idx="763">
                  <c:v>61800</c:v>
                </c:pt>
                <c:pt idx="764">
                  <c:v>32702</c:v>
                </c:pt>
                <c:pt idx="765">
                  <c:v>107100</c:v>
                </c:pt>
                <c:pt idx="766">
                  <c:v>72300</c:v>
                </c:pt>
                <c:pt idx="767">
                  <c:v>37900</c:v>
                </c:pt>
                <c:pt idx="768">
                  <c:v>81200</c:v>
                </c:pt>
                <c:pt idx="769">
                  <c:v>91700</c:v>
                </c:pt>
                <c:pt idx="770">
                  <c:v>88500</c:v>
                </c:pt>
                <c:pt idx="771">
                  <c:v>46900</c:v>
                </c:pt>
                <c:pt idx="772">
                  <c:v>54300</c:v>
                </c:pt>
                <c:pt idx="773">
                  <c:v>55000</c:v>
                </c:pt>
                <c:pt idx="774">
                  <c:v>83500</c:v>
                </c:pt>
                <c:pt idx="775">
                  <c:v>58000</c:v>
                </c:pt>
                <c:pt idx="776">
                  <c:v>47400</c:v>
                </c:pt>
                <c:pt idx="777">
                  <c:v>78768</c:v>
                </c:pt>
                <c:pt idx="778">
                  <c:v>63300</c:v>
                </c:pt>
              </c:numCache>
            </c:numRef>
          </c:yVal>
          <c:smooth val="0"/>
        </c:ser>
        <c:dLbls>
          <c:showLegendKey val="0"/>
          <c:showVal val="0"/>
          <c:showCatName val="0"/>
          <c:showSerName val="0"/>
          <c:showPercent val="0"/>
          <c:showBubbleSize val="0"/>
        </c:dLbls>
        <c:axId val="1159543072"/>
        <c:axId val="1159544248"/>
      </c:scatterChart>
      <c:valAx>
        <c:axId val="1159543072"/>
        <c:scaling>
          <c:orientation val="minMax"/>
          <c:max val="225"/>
          <c:min val="75"/>
        </c:scaling>
        <c:delete val="0"/>
        <c:axPos val="b"/>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pVIS, %</a:t>
                </a:r>
              </a:p>
            </c:rich>
          </c:tx>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59544248"/>
        <c:crosses val="autoZero"/>
        <c:crossBetween val="midCat"/>
        <c:majorUnit val="25"/>
      </c:valAx>
      <c:valAx>
        <c:axId val="1159544248"/>
        <c:scaling>
          <c:orientation val="minMax"/>
          <c:max val="100000"/>
          <c:min val="0"/>
        </c:scaling>
        <c:delete val="0"/>
        <c:axPos val="l"/>
        <c:majorGridlines>
          <c:spPr>
            <a:ln w="9525" cap="flat" cmpd="sng" algn="ctr">
              <a:solidFill>
                <a:schemeClr val="tx1">
                  <a:lumMod val="15000"/>
                  <a:lumOff val="85000"/>
                </a:schemeClr>
              </a:solidFill>
              <a:round/>
            </a:ln>
            <a:effectLst/>
          </c:spPr>
        </c:majorGridlines>
        <c:minorGridlines>
          <c:spPr>
            <a:ln w="9525" cap="flat" cmpd="sng" algn="ctr">
              <a:solidFill>
                <a:schemeClr val="tx1">
                  <a:lumMod val="5000"/>
                  <a:lumOff val="95000"/>
                </a:schemeClr>
              </a:solidFill>
              <a:round/>
            </a:ln>
            <a:effectLst/>
          </c:spPr>
        </c:min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t>MRV, mPa•s</a:t>
                </a:r>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endParaRPr lang="en-US"/>
            </a:p>
          </c:txPr>
        </c:title>
        <c:numFmt formatCode="#,##0" sourceLinked="0"/>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1159543072"/>
        <c:crosses val="autoZero"/>
        <c:crossBetween val="midCat"/>
        <c:majorUnit val="10000"/>
        <c:minorUnit val="5000"/>
      </c:valAx>
      <c:spPr>
        <a:noFill/>
        <a:ln>
          <a:noFill/>
        </a:ln>
        <a:effectLst/>
      </c:spPr>
    </c:plotArea>
    <c:plotVisOnly val="1"/>
    <c:dispBlanksAs val="gap"/>
    <c:showDLblsOverMax val="0"/>
  </c:chart>
  <c:spPr>
    <a:noFill/>
    <a:ln>
      <a:noFill/>
    </a:ln>
    <a:effectLst/>
  </c:spPr>
  <c:txPr>
    <a:bodyPr/>
    <a:lstStyle/>
    <a:p>
      <a:pPr>
        <a:defRPr>
          <a:solidFill>
            <a:sysClr val="windowText" lastClr="000000"/>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6129" cy="463198"/>
          </a:xfrm>
          <a:prstGeom prst="rect">
            <a:avLst/>
          </a:prstGeom>
        </p:spPr>
        <p:txBody>
          <a:bodyPr vert="horz" lIns="87577" tIns="43788" rIns="87577" bIns="43788" rtlCol="0"/>
          <a:lstStyle>
            <a:lvl1pPr algn="l">
              <a:defRPr sz="1100"/>
            </a:lvl1pPr>
          </a:lstStyle>
          <a:p>
            <a:endParaRPr lang="en-US"/>
          </a:p>
        </p:txBody>
      </p:sp>
      <p:sp>
        <p:nvSpPr>
          <p:cNvPr id="3" name="Date Placeholder 2"/>
          <p:cNvSpPr>
            <a:spLocks noGrp="1"/>
          </p:cNvSpPr>
          <p:nvPr>
            <p:ph type="dt" sz="quarter" idx="1"/>
          </p:nvPr>
        </p:nvSpPr>
        <p:spPr>
          <a:xfrm>
            <a:off x="3941961" y="0"/>
            <a:ext cx="3016129" cy="463198"/>
          </a:xfrm>
          <a:prstGeom prst="rect">
            <a:avLst/>
          </a:prstGeom>
        </p:spPr>
        <p:txBody>
          <a:bodyPr vert="horz" lIns="87577" tIns="43788" rIns="87577" bIns="43788" rtlCol="0"/>
          <a:lstStyle>
            <a:lvl1pPr algn="r">
              <a:defRPr sz="1100"/>
            </a:lvl1pPr>
          </a:lstStyle>
          <a:p>
            <a:fld id="{1A7901FD-4FAE-43D6-8F86-0D79869328F1}" type="datetimeFigureOut">
              <a:rPr lang="en-US" smtClean="0"/>
              <a:t>08/07/2019</a:t>
            </a:fld>
            <a:endParaRPr lang="en-US"/>
          </a:p>
        </p:txBody>
      </p:sp>
      <p:sp>
        <p:nvSpPr>
          <p:cNvPr id="4" name="Footer Placeholder 3"/>
          <p:cNvSpPr>
            <a:spLocks noGrp="1"/>
          </p:cNvSpPr>
          <p:nvPr>
            <p:ph type="ftr" sz="quarter" idx="2"/>
          </p:nvPr>
        </p:nvSpPr>
        <p:spPr>
          <a:xfrm>
            <a:off x="0" y="8782404"/>
            <a:ext cx="3016129" cy="463197"/>
          </a:xfrm>
          <a:prstGeom prst="rect">
            <a:avLst/>
          </a:prstGeom>
        </p:spPr>
        <p:txBody>
          <a:bodyPr vert="horz" lIns="87577" tIns="43788" rIns="87577" bIns="43788" rtlCol="0" anchor="b"/>
          <a:lstStyle>
            <a:lvl1pPr algn="l">
              <a:defRPr sz="1100"/>
            </a:lvl1pPr>
          </a:lstStyle>
          <a:p>
            <a:endParaRPr lang="en-US"/>
          </a:p>
        </p:txBody>
      </p:sp>
      <p:sp>
        <p:nvSpPr>
          <p:cNvPr id="5" name="Slide Number Placeholder 4"/>
          <p:cNvSpPr>
            <a:spLocks noGrp="1"/>
          </p:cNvSpPr>
          <p:nvPr>
            <p:ph type="sldNum" sz="quarter" idx="3"/>
          </p:nvPr>
        </p:nvSpPr>
        <p:spPr>
          <a:xfrm>
            <a:off x="3941961" y="8782404"/>
            <a:ext cx="3016129" cy="463197"/>
          </a:xfrm>
          <a:prstGeom prst="rect">
            <a:avLst/>
          </a:prstGeom>
        </p:spPr>
        <p:txBody>
          <a:bodyPr vert="horz" lIns="87577" tIns="43788" rIns="87577" bIns="43788" rtlCol="0" anchor="b"/>
          <a:lstStyle>
            <a:lvl1pPr algn="r">
              <a:defRPr sz="1100"/>
            </a:lvl1pPr>
          </a:lstStyle>
          <a:p>
            <a:fld id="{E7FD628E-5565-45E0-A726-92C6DC2ACEE9}" type="slidenum">
              <a:rPr lang="en-US" smtClean="0"/>
              <a:t>‹#›</a:t>
            </a:fld>
            <a:endParaRPr lang="en-US"/>
          </a:p>
        </p:txBody>
      </p:sp>
    </p:spTree>
    <p:extLst>
      <p:ext uri="{BB962C8B-B14F-4D97-AF65-F5344CB8AC3E}">
        <p14:creationId xmlns:p14="http://schemas.microsoft.com/office/powerpoint/2010/main" val="30241176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15827" cy="463885"/>
          </a:xfrm>
          <a:prstGeom prst="rect">
            <a:avLst/>
          </a:prstGeom>
        </p:spPr>
        <p:txBody>
          <a:bodyPr vert="horz" lIns="92579" tIns="46290" rIns="92579" bIns="46290" rtlCol="0"/>
          <a:lstStyle>
            <a:lvl1pPr algn="l">
              <a:defRPr sz="1200"/>
            </a:lvl1pPr>
          </a:lstStyle>
          <a:p>
            <a:endParaRPr lang="en-US"/>
          </a:p>
        </p:txBody>
      </p:sp>
      <p:sp>
        <p:nvSpPr>
          <p:cNvPr id="3" name="Date Placeholder 2"/>
          <p:cNvSpPr>
            <a:spLocks noGrp="1"/>
          </p:cNvSpPr>
          <p:nvPr>
            <p:ph type="dt" idx="1"/>
          </p:nvPr>
        </p:nvSpPr>
        <p:spPr>
          <a:xfrm>
            <a:off x="3942162" y="2"/>
            <a:ext cx="3015827" cy="463885"/>
          </a:xfrm>
          <a:prstGeom prst="rect">
            <a:avLst/>
          </a:prstGeom>
        </p:spPr>
        <p:txBody>
          <a:bodyPr vert="horz" lIns="92579" tIns="46290" rIns="92579" bIns="46290" rtlCol="0"/>
          <a:lstStyle>
            <a:lvl1pPr algn="r">
              <a:defRPr sz="1200"/>
            </a:lvl1pPr>
          </a:lstStyle>
          <a:p>
            <a:fld id="{99258DDA-EADE-4FE2-8DAA-5509FCAC90E2}" type="datetimeFigureOut">
              <a:rPr lang="en-US" smtClean="0"/>
              <a:t>08/07/2019</a:t>
            </a:fld>
            <a:endParaRPr lang="en-US"/>
          </a:p>
        </p:txBody>
      </p:sp>
      <p:sp>
        <p:nvSpPr>
          <p:cNvPr id="4" name="Slide Image Placeholder 3"/>
          <p:cNvSpPr>
            <a:spLocks noGrp="1" noRot="1" noChangeAspect="1"/>
          </p:cNvSpPr>
          <p:nvPr>
            <p:ph type="sldImg" idx="2"/>
          </p:nvPr>
        </p:nvSpPr>
        <p:spPr>
          <a:xfrm>
            <a:off x="708025" y="1155700"/>
            <a:ext cx="5543550" cy="3119438"/>
          </a:xfrm>
          <a:prstGeom prst="rect">
            <a:avLst/>
          </a:prstGeom>
          <a:noFill/>
          <a:ln w="12700">
            <a:solidFill>
              <a:prstClr val="black"/>
            </a:solidFill>
          </a:ln>
        </p:spPr>
        <p:txBody>
          <a:bodyPr vert="horz" lIns="92579" tIns="46290" rIns="92579" bIns="46290" rtlCol="0" anchor="ctr"/>
          <a:lstStyle/>
          <a:p>
            <a:endParaRPr lang="en-US"/>
          </a:p>
        </p:txBody>
      </p:sp>
      <p:sp>
        <p:nvSpPr>
          <p:cNvPr id="5" name="Notes Placeholder 4"/>
          <p:cNvSpPr>
            <a:spLocks noGrp="1"/>
          </p:cNvSpPr>
          <p:nvPr>
            <p:ph type="body" sz="quarter" idx="3"/>
          </p:nvPr>
        </p:nvSpPr>
        <p:spPr>
          <a:xfrm>
            <a:off x="695960" y="4449446"/>
            <a:ext cx="5567680" cy="3640455"/>
          </a:xfrm>
          <a:prstGeom prst="rect">
            <a:avLst/>
          </a:prstGeom>
        </p:spPr>
        <p:txBody>
          <a:bodyPr vert="horz" lIns="92579" tIns="46290" rIns="92579" bIns="4629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8781717"/>
            <a:ext cx="3015827" cy="463884"/>
          </a:xfrm>
          <a:prstGeom prst="rect">
            <a:avLst/>
          </a:prstGeom>
        </p:spPr>
        <p:txBody>
          <a:bodyPr vert="horz" lIns="92579" tIns="46290" rIns="92579" bIns="46290" rtlCol="0" anchor="b"/>
          <a:lstStyle>
            <a:lvl1pPr algn="l">
              <a:defRPr sz="1200"/>
            </a:lvl1pPr>
          </a:lstStyle>
          <a:p>
            <a:endParaRPr lang="en-US"/>
          </a:p>
        </p:txBody>
      </p:sp>
      <p:sp>
        <p:nvSpPr>
          <p:cNvPr id="7" name="Slide Number Placeholder 6"/>
          <p:cNvSpPr>
            <a:spLocks noGrp="1"/>
          </p:cNvSpPr>
          <p:nvPr>
            <p:ph type="sldNum" sz="quarter" idx="5"/>
          </p:nvPr>
        </p:nvSpPr>
        <p:spPr>
          <a:xfrm>
            <a:off x="3942162" y="8781717"/>
            <a:ext cx="3015827" cy="463884"/>
          </a:xfrm>
          <a:prstGeom prst="rect">
            <a:avLst/>
          </a:prstGeom>
        </p:spPr>
        <p:txBody>
          <a:bodyPr vert="horz" lIns="92579" tIns="46290" rIns="92579" bIns="46290" rtlCol="0" anchor="b"/>
          <a:lstStyle>
            <a:lvl1pPr algn="r">
              <a:defRPr sz="1200"/>
            </a:lvl1pPr>
          </a:lstStyle>
          <a:p>
            <a:fld id="{39697FCA-710A-4079-BFA4-023BB9285E2B}" type="slidenum">
              <a:rPr lang="en-US" smtClean="0"/>
              <a:t>‹#›</a:t>
            </a:fld>
            <a:endParaRPr lang="en-US"/>
          </a:p>
        </p:txBody>
      </p:sp>
    </p:spTree>
    <p:extLst>
      <p:ext uri="{BB962C8B-B14F-4D97-AF65-F5344CB8AC3E}">
        <p14:creationId xmlns:p14="http://schemas.microsoft.com/office/powerpoint/2010/main" val="31116753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645CE4D4-C82E-4EDF-9268-DC2DB7C7CA44}" type="slidenum">
              <a:rPr lang="en-US" smtClean="0"/>
              <a:t>1</a:t>
            </a:fld>
            <a:endParaRPr lang="en-US" dirty="0"/>
          </a:p>
        </p:txBody>
      </p:sp>
    </p:spTree>
    <p:extLst>
      <p:ext uri="{BB962C8B-B14F-4D97-AF65-F5344CB8AC3E}">
        <p14:creationId xmlns:p14="http://schemas.microsoft.com/office/powerpoint/2010/main" val="266813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645CE4D4-C82E-4EDF-9268-DC2DB7C7CA44}"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8785446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697FCA-710A-4079-BFA4-023BB9285E2B}" type="slidenum">
              <a:rPr lang="en-US" smtClean="0"/>
              <a:t>4</a:t>
            </a:fld>
            <a:endParaRPr lang="en-US"/>
          </a:p>
        </p:txBody>
      </p:sp>
    </p:spTree>
    <p:extLst>
      <p:ext uri="{BB962C8B-B14F-4D97-AF65-F5344CB8AC3E}">
        <p14:creationId xmlns:p14="http://schemas.microsoft.com/office/powerpoint/2010/main" val="38764963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697FCA-710A-4079-BFA4-023BB9285E2B}" type="slidenum">
              <a:rPr lang="en-US" smtClean="0"/>
              <a:t>5</a:t>
            </a:fld>
            <a:endParaRPr lang="en-US"/>
          </a:p>
        </p:txBody>
      </p:sp>
    </p:spTree>
    <p:extLst>
      <p:ext uri="{BB962C8B-B14F-4D97-AF65-F5344CB8AC3E}">
        <p14:creationId xmlns:p14="http://schemas.microsoft.com/office/powerpoint/2010/main" val="42694918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697FCA-710A-4079-BFA4-023BB9285E2B}" type="slidenum">
              <a:rPr lang="en-US" smtClean="0"/>
              <a:t>6</a:t>
            </a:fld>
            <a:endParaRPr lang="en-US"/>
          </a:p>
        </p:txBody>
      </p:sp>
    </p:spTree>
    <p:extLst>
      <p:ext uri="{BB962C8B-B14F-4D97-AF65-F5344CB8AC3E}">
        <p14:creationId xmlns:p14="http://schemas.microsoft.com/office/powerpoint/2010/main" val="16939652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9697FCA-710A-4079-BFA4-023BB9285E2B}" type="slidenum">
              <a:rPr lang="en-US" smtClean="0"/>
              <a:t>8</a:t>
            </a:fld>
            <a:endParaRPr lang="en-US"/>
          </a:p>
        </p:txBody>
      </p:sp>
    </p:spTree>
    <p:extLst>
      <p:ext uri="{BB962C8B-B14F-4D97-AF65-F5344CB8AC3E}">
        <p14:creationId xmlns:p14="http://schemas.microsoft.com/office/powerpoint/2010/main" val="759323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46"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Freihandform 12"/>
          <p:cNvSpPr/>
          <p:nvPr userDrawn="1"/>
        </p:nvSpPr>
        <p:spPr bwMode="white">
          <a:xfrm>
            <a:off x="0" y="0"/>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9143999 w 9144000"/>
              <a:gd name="connsiteY3" fmla="*/ 6858000 h 6858000"/>
              <a:gd name="connsiteX4" fmla="*/ 9143999 w 9144000"/>
              <a:gd name="connsiteY4" fmla="*/ 6057900 h 6858000"/>
              <a:gd name="connsiteX5" fmla="*/ 7019924 w 9144000"/>
              <a:gd name="connsiteY5" fmla="*/ 6057900 h 6858000"/>
              <a:gd name="connsiteX6" fmla="*/ 7019924 w 9144000"/>
              <a:gd name="connsiteY6" fmla="*/ 6858000 h 6858000"/>
              <a:gd name="connsiteX7" fmla="*/ 0 w 9144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0" h="6858000">
                <a:moveTo>
                  <a:pt x="0" y="0"/>
                </a:moveTo>
                <a:lnTo>
                  <a:pt x="9144000" y="0"/>
                </a:lnTo>
                <a:lnTo>
                  <a:pt x="9144000" y="6858000"/>
                </a:lnTo>
                <a:lnTo>
                  <a:pt x="9143999" y="6858000"/>
                </a:lnTo>
                <a:lnTo>
                  <a:pt x="9143999" y="6057900"/>
                </a:lnTo>
                <a:lnTo>
                  <a:pt x="7019924" y="6057900"/>
                </a:lnTo>
                <a:lnTo>
                  <a:pt x="701992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ctrTitle" hasCustomPrompt="1"/>
          </p:nvPr>
        </p:nvSpPr>
        <p:spPr bwMode="auto">
          <a:xfrm>
            <a:off x="442913" y="333375"/>
            <a:ext cx="11303999" cy="4571788"/>
          </a:xfrm>
          <a:solidFill>
            <a:srgbClr val="7DA1C4"/>
          </a:solidFill>
        </p:spPr>
        <p:txBody>
          <a:bodyPr lIns="360000" tIns="360000" rIns="360000" bIns="360000" anchor="t" anchorCtr="0"/>
          <a:lstStyle>
            <a:lvl1pPr algn="l">
              <a:lnSpc>
                <a:spcPct val="100000"/>
              </a:lnSpc>
              <a:defRPr sz="4000">
                <a:solidFill>
                  <a:schemeClr val="bg1"/>
                </a:solidFill>
              </a:defRPr>
            </a:lvl1pPr>
          </a:lstStyle>
          <a:p>
            <a:r>
              <a:rPr lang="en-US" dirty="0" smtClean="0"/>
              <a:t>Placeholder text for title slide option 1</a:t>
            </a:r>
            <a:br>
              <a:rPr lang="en-US" dirty="0" smtClean="0"/>
            </a:br>
            <a:r>
              <a:rPr lang="en-US" dirty="0" smtClean="0"/>
              <a:t>Catchy presentation title</a:t>
            </a:r>
            <a:endParaRPr lang="en-US" noProof="0" dirty="0"/>
          </a:p>
        </p:txBody>
      </p:sp>
      <p:sp>
        <p:nvSpPr>
          <p:cNvPr id="3" name="Subtitle 2"/>
          <p:cNvSpPr>
            <a:spLocks noGrp="1"/>
          </p:cNvSpPr>
          <p:nvPr>
            <p:ph type="subTitle" idx="1" hasCustomPrompt="1"/>
          </p:nvPr>
        </p:nvSpPr>
        <p:spPr>
          <a:xfrm>
            <a:off x="442914" y="5013176"/>
            <a:ext cx="11306174" cy="828824"/>
          </a:xfrm>
          <a:solidFill>
            <a:schemeClr val="bg2"/>
          </a:solidFill>
        </p:spPr>
        <p:txBody>
          <a:bodyPr lIns="360000" tIns="108000" rIns="360000" bIns="108000"/>
          <a:lstStyle>
            <a:lvl1pPr marL="0" indent="0" algn="l">
              <a:spcBef>
                <a:spcPts val="0"/>
              </a:spcBef>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Placeholder text Date  |  Presenter</a:t>
            </a:r>
          </a:p>
        </p:txBody>
      </p:sp>
      <p:sp>
        <p:nvSpPr>
          <p:cNvPr id="10" name="Textplatzhalter 9"/>
          <p:cNvSpPr>
            <a:spLocks noGrp="1"/>
          </p:cNvSpPr>
          <p:nvPr>
            <p:ph type="body" sz="quarter" idx="12" hasCustomPrompt="1"/>
          </p:nvPr>
        </p:nvSpPr>
        <p:spPr>
          <a:xfrm>
            <a:off x="442914" y="2096853"/>
            <a:ext cx="11304000" cy="914401"/>
          </a:xfrm>
        </p:spPr>
        <p:txBody>
          <a:bodyPr lIns="360000" rIns="360000"/>
          <a:lstStyle>
            <a:lvl1pPr marL="0" indent="0">
              <a:spcBef>
                <a:spcPts val="0"/>
              </a:spcBef>
              <a:buFont typeface="Arial" panose="020B0604020202020204" pitchFamily="34" charset="0"/>
              <a:buNone/>
              <a:defRPr sz="2000" b="0" baseline="0">
                <a:solidFill>
                  <a:schemeClr val="bg1"/>
                </a:solidFill>
              </a:defRPr>
            </a:lvl1pPr>
            <a:lvl2pPr marL="180000" indent="0">
              <a:buNone/>
              <a:defRPr>
                <a:solidFill>
                  <a:schemeClr val="bg1"/>
                </a:solidFill>
              </a:defRPr>
            </a:lvl2pPr>
            <a:lvl3pPr marL="360000" indent="0">
              <a:buNone/>
              <a:defRPr>
                <a:solidFill>
                  <a:schemeClr val="bg1"/>
                </a:solidFill>
              </a:defRPr>
            </a:lvl3pPr>
            <a:lvl4pPr marL="540000" indent="0">
              <a:buNone/>
              <a:defRPr>
                <a:solidFill>
                  <a:schemeClr val="bg1"/>
                </a:solidFill>
              </a:defRPr>
            </a:lvl4pPr>
            <a:lvl5pPr marL="720000" indent="0">
              <a:buNone/>
              <a:defRPr>
                <a:solidFill>
                  <a:schemeClr val="bg1"/>
                </a:solidFill>
              </a:defRPr>
            </a:lvl5pPr>
          </a:lstStyle>
          <a:p>
            <a:r>
              <a:rPr lang="en-US" dirty="0" smtClean="0"/>
              <a:t>Placeholder text for subline. Move box to correct position or delete.</a:t>
            </a:r>
            <a:endParaRPr lang="en-US" dirty="0"/>
          </a:p>
        </p:txBody>
      </p:sp>
      <p:sp>
        <p:nvSpPr>
          <p:cNvPr id="7" name="Gefaltete Ecke 6"/>
          <p:cNvSpPr/>
          <p:nvPr userDrawn="1"/>
        </p:nvSpPr>
        <p:spPr>
          <a:xfrm>
            <a:off x="-1176808" y="2744924"/>
            <a:ext cx="1073161" cy="1073161"/>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0" rIns="36000" rtlCol="0" anchor="t" anchorCtr="0"/>
          <a:lstStyle/>
          <a:p>
            <a:r>
              <a:rPr lang="en-US" sz="1200" dirty="0">
                <a:solidFill>
                  <a:prstClr val="black"/>
                </a:solidFill>
              </a:rPr>
              <a:t>Layout: </a:t>
            </a:r>
            <a:br>
              <a:rPr lang="en-US" sz="1200" dirty="0">
                <a:solidFill>
                  <a:prstClr val="black"/>
                </a:solidFill>
              </a:rPr>
            </a:br>
            <a:r>
              <a:rPr lang="en-US" sz="1600" dirty="0">
                <a:solidFill>
                  <a:prstClr val="black"/>
                </a:solidFill>
              </a:rPr>
              <a:t>Title </a:t>
            </a:r>
            <a:br>
              <a:rPr lang="en-US" sz="1600" dirty="0">
                <a:solidFill>
                  <a:prstClr val="black"/>
                </a:solidFill>
              </a:rPr>
            </a:br>
            <a:r>
              <a:rPr lang="en-US" sz="1600" dirty="0">
                <a:solidFill>
                  <a:prstClr val="black"/>
                </a:solidFill>
              </a:rPr>
              <a:t>slide 1</a:t>
            </a:r>
          </a:p>
        </p:txBody>
      </p:sp>
    </p:spTree>
    <p:extLst>
      <p:ext uri="{BB962C8B-B14F-4D97-AF65-F5344CB8AC3E}">
        <p14:creationId xmlns:p14="http://schemas.microsoft.com/office/powerpoint/2010/main" val="2572669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79">
          <p15:clr>
            <a:srgbClr val="C35EA4"/>
          </p15:clr>
        </p15:guide>
        <p15:guide id="2" orient="horz" pos="3680">
          <p15:clr>
            <a:srgbClr val="C35EA4"/>
          </p15:clr>
        </p15:guide>
        <p15:guide id="3" pos="7401">
          <p15:clr>
            <a:srgbClr val="C35EA4"/>
          </p15:clr>
        </p15:guide>
        <p15:guide id="4" orient="horz" pos="210">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Textfoli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175"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noProof="0" dirty="0" smtClean="0"/>
              <a:t>Heading, Arial 24 pt bold, max. 2 lines</a:t>
            </a:r>
            <a:endParaRPr lang="en-US" noProof="0" dirty="0"/>
          </a:p>
        </p:txBody>
      </p:sp>
      <p:sp>
        <p:nvSpPr>
          <p:cNvPr id="3" name="Content Placeholder 2"/>
          <p:cNvSpPr>
            <a:spLocks noGrp="1"/>
          </p:cNvSpPr>
          <p:nvPr>
            <p:ph idx="1" hasCustomPrompt="1"/>
          </p:nvPr>
        </p:nvSpPr>
        <p:spPr/>
        <p:txBody>
          <a:bodyPr/>
          <a:lstStyle>
            <a:lvl1pPr>
              <a:defRPr/>
            </a:lvl1pPr>
            <a:lvl2pPr>
              <a:defRPr/>
            </a:lvl2pPr>
            <a:lvl3pPr>
              <a:defRPr/>
            </a:lvl3pPr>
            <a:lvl4pPr>
              <a:defRPr/>
            </a:lvl4pPr>
            <a:lvl5pPr>
              <a:defRPr/>
            </a:lvl5pPr>
          </a:lstStyle>
          <a:p>
            <a:pPr lvl="0"/>
            <a:r>
              <a:rPr lang="en-US" noProof="0" dirty="0" smtClean="0"/>
              <a:t>Click to edit</a:t>
            </a:r>
          </a:p>
          <a:p>
            <a:pPr lvl="1"/>
            <a:r>
              <a:rPr lang="en-US" noProof="0" dirty="0" smtClean="0"/>
              <a:t>Level 2</a:t>
            </a:r>
          </a:p>
          <a:p>
            <a:pPr lvl="2"/>
            <a:r>
              <a:rPr lang="en-US" noProof="0" dirty="0" smtClean="0"/>
              <a:t>Level 3</a:t>
            </a:r>
          </a:p>
          <a:p>
            <a:pPr lvl="3"/>
            <a:r>
              <a:rPr lang="en-US" noProof="0" dirty="0" smtClean="0"/>
              <a:t>Level 4</a:t>
            </a:r>
          </a:p>
          <a:p>
            <a:pPr lvl="4"/>
            <a:r>
              <a:rPr lang="en-US" noProof="0" dirty="0" smtClean="0"/>
              <a:t>Level 5</a:t>
            </a:r>
            <a:endParaRPr lang="en-US" noProof="0" dirty="0"/>
          </a:p>
        </p:txBody>
      </p:sp>
      <p:sp>
        <p:nvSpPr>
          <p:cNvPr id="9" name="Gefaltete Ecke 8"/>
          <p:cNvSpPr/>
          <p:nvPr userDrawn="1"/>
        </p:nvSpPr>
        <p:spPr>
          <a:xfrm>
            <a:off x="-1176808" y="2744924"/>
            <a:ext cx="1073161" cy="1073161"/>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0" rIns="36000" rtlCol="0" anchor="t" anchorCtr="0"/>
          <a:lstStyle/>
          <a:p>
            <a:r>
              <a:rPr lang="en-US" sz="1200" dirty="0">
                <a:solidFill>
                  <a:prstClr val="black"/>
                </a:solidFill>
              </a:rPr>
              <a:t>Layout: </a:t>
            </a:r>
            <a:r>
              <a:rPr lang="en-US" sz="1600" dirty="0">
                <a:solidFill>
                  <a:prstClr val="black"/>
                </a:solidFill>
              </a:rPr>
              <a:t>Standard text slide</a:t>
            </a:r>
          </a:p>
        </p:txBody>
      </p:sp>
      <p:sp>
        <p:nvSpPr>
          <p:cNvPr id="5" name="Datumsplatzhalter 4"/>
          <p:cNvSpPr>
            <a:spLocks noGrp="1"/>
          </p:cNvSpPr>
          <p:nvPr>
            <p:ph type="dt" sz="half" idx="10"/>
          </p:nvPr>
        </p:nvSpPr>
        <p:spPr/>
        <p:txBody>
          <a:bodyPr/>
          <a:lstStyle/>
          <a:p>
            <a:endParaRPr lang="en-US" dirty="0">
              <a:solidFill>
                <a:prstClr val="black"/>
              </a:solidFill>
            </a:endParaRPr>
          </a:p>
        </p:txBody>
      </p:sp>
      <p:sp>
        <p:nvSpPr>
          <p:cNvPr id="6" name="Fußzeilenplatzhalter 5"/>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Tree>
    <p:extLst>
      <p:ext uri="{BB962C8B-B14F-4D97-AF65-F5344CB8AC3E}">
        <p14:creationId xmlns:p14="http://schemas.microsoft.com/office/powerpoint/2010/main" val="652586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p15:clr>
            <a:srgbClr val="C35EA4"/>
          </p15:clr>
        </p15:guide>
        <p15:guide id="2" pos="279">
          <p15:clr>
            <a:srgbClr val="C35EA4"/>
          </p15:clr>
        </p15:guide>
        <p15:guide id="3" pos="7401">
          <p15:clr>
            <a:srgbClr val="C35EA4"/>
          </p15:clr>
        </p15:guide>
        <p15:guide id="4" orient="horz" pos="2319">
          <p15:clr>
            <a:srgbClr val="C35EA4"/>
          </p15:clr>
        </p15:guide>
        <p15:guide id="5" orient="horz" pos="3840" userDrawn="1">
          <p15:clr>
            <a:srgbClr val="C35EA4"/>
          </p15:clr>
        </p15:guide>
        <p15:guide id="6" orient="horz" pos="864" userDrawn="1">
          <p15:clr>
            <a:srgbClr val="C35EA4"/>
          </p15:clr>
        </p15:guide>
        <p15:guide id="7" pos="3727">
          <p15:clr>
            <a:srgbClr val="C35EA4"/>
          </p15:clr>
        </p15:guide>
        <p15:guide id="8" pos="3953">
          <p15:clr>
            <a:srgbClr val="C35EA4"/>
          </p15:clr>
        </p15:guide>
        <p15:guide id="9" orient="horz" pos="210">
          <p15:clr>
            <a:srgbClr val="C35E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tandard-Textfolie">
    <p:spTree>
      <p:nvGrpSpPr>
        <p:cNvPr id="1" name=""/>
        <p:cNvGrpSpPr/>
        <p:nvPr/>
      </p:nvGrpSpPr>
      <p:grpSpPr>
        <a:xfrm>
          <a:off x="0" y="0"/>
          <a:ext cx="0" cy="0"/>
          <a:chOff x="0" y="0"/>
          <a:chExt cx="0" cy="0"/>
        </a:xfrm>
      </p:grpSpPr>
      <p:sp>
        <p:nvSpPr>
          <p:cNvPr id="8" name="Title 1"/>
          <p:cNvSpPr txBox="1">
            <a:spLocks/>
          </p:cNvSpPr>
          <p:nvPr userDrawn="1"/>
        </p:nvSpPr>
        <p:spPr bwMode="auto">
          <a:xfrm>
            <a:off x="442913" y="333374"/>
            <a:ext cx="11303999" cy="5780086"/>
          </a:xfrm>
          <a:prstGeom prst="rect">
            <a:avLst/>
          </a:prstGeom>
          <a:solidFill>
            <a:srgbClr val="7DA1C4"/>
          </a:solidFill>
        </p:spPr>
        <p:txBody>
          <a:bodyPr vert="horz" lIns="360000" tIns="360000" rIns="360000" bIns="360000" rtlCol="0" anchor="ctr" anchorCtr="0">
            <a:noAutofit/>
          </a:bodyPr>
          <a:lstStyle>
            <a:lvl1pPr algn="l" defTabSz="914400" rtl="0" eaLnBrk="1" latinLnBrk="0" hangingPunct="1">
              <a:lnSpc>
                <a:spcPct val="100000"/>
              </a:lnSpc>
              <a:spcBef>
                <a:spcPct val="0"/>
              </a:spcBef>
              <a:buNone/>
              <a:defRPr sz="4000" b="1" kern="1200">
                <a:solidFill>
                  <a:schemeClr val="bg1"/>
                </a:solidFill>
                <a:latin typeface="Calibri" panose="020F0502020204030204" pitchFamily="34" charset="0"/>
                <a:ea typeface="+mj-ea"/>
                <a:cs typeface="+mj-cs"/>
              </a:defRPr>
            </a:lvl1pPr>
          </a:lstStyle>
          <a:p>
            <a:pPr algn="ctr"/>
            <a:endParaRPr lang="en-US" dirty="0"/>
          </a:p>
        </p:txBody>
      </p:sp>
      <p:graphicFrame>
        <p:nvGraphicFramePr>
          <p:cNvPr id="11" name="Objekt 10"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215"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Gefaltete Ecke 8"/>
          <p:cNvSpPr/>
          <p:nvPr userDrawn="1"/>
        </p:nvSpPr>
        <p:spPr>
          <a:xfrm>
            <a:off x="-1176808" y="2744924"/>
            <a:ext cx="1073161" cy="1073161"/>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0" rIns="36000" rtlCol="0" anchor="t" anchorCtr="0"/>
          <a:lstStyle/>
          <a:p>
            <a:r>
              <a:rPr lang="en-US" sz="1200" dirty="0">
                <a:solidFill>
                  <a:prstClr val="black"/>
                </a:solidFill>
              </a:rPr>
              <a:t>Layout: </a:t>
            </a:r>
            <a:r>
              <a:rPr lang="en-US" sz="1600" dirty="0">
                <a:solidFill>
                  <a:prstClr val="black"/>
                </a:solidFill>
              </a:rPr>
              <a:t>Standard text slide</a:t>
            </a:r>
          </a:p>
        </p:txBody>
      </p:sp>
      <p:sp>
        <p:nvSpPr>
          <p:cNvPr id="5" name="Datumsplatzhalter 4"/>
          <p:cNvSpPr>
            <a:spLocks noGrp="1"/>
          </p:cNvSpPr>
          <p:nvPr>
            <p:ph type="dt" sz="half" idx="10"/>
          </p:nvPr>
        </p:nvSpPr>
        <p:spPr/>
        <p:txBody>
          <a:bodyPr/>
          <a:lstStyle/>
          <a:p>
            <a:endParaRPr lang="en-US" dirty="0">
              <a:solidFill>
                <a:prstClr val="black"/>
              </a:solidFill>
            </a:endParaRPr>
          </a:p>
        </p:txBody>
      </p:sp>
      <p:sp>
        <p:nvSpPr>
          <p:cNvPr id="6" name="Fußzeilenplatzhalter 5"/>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
        <p:nvSpPr>
          <p:cNvPr id="10" name="Title 1"/>
          <p:cNvSpPr>
            <a:spLocks noGrp="1"/>
          </p:cNvSpPr>
          <p:nvPr>
            <p:ph type="title" hasCustomPrompt="1"/>
          </p:nvPr>
        </p:nvSpPr>
        <p:spPr>
          <a:xfrm>
            <a:off x="442913" y="332655"/>
            <a:ext cx="11304000" cy="5763343"/>
          </a:xfrm>
        </p:spPr>
        <p:txBody>
          <a:bodyPr anchor="ctr"/>
          <a:lstStyle>
            <a:lvl1pPr algn="ctr">
              <a:defRPr sz="3600" baseline="0">
                <a:solidFill>
                  <a:schemeClr val="bg1"/>
                </a:solidFill>
              </a:defRPr>
            </a:lvl1pPr>
          </a:lstStyle>
          <a:p>
            <a:r>
              <a:rPr lang="en-US" noProof="0" dirty="0" smtClean="0"/>
              <a:t>Heading, Arial 24 pt bold, max. 2 lines</a:t>
            </a:r>
            <a:endParaRPr lang="en-US" noProof="0" dirty="0"/>
          </a:p>
        </p:txBody>
      </p:sp>
    </p:spTree>
    <p:extLst>
      <p:ext uri="{BB962C8B-B14F-4D97-AF65-F5344CB8AC3E}">
        <p14:creationId xmlns:p14="http://schemas.microsoft.com/office/powerpoint/2010/main" val="27881582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p15:clr>
            <a:srgbClr val="C35EA4"/>
          </p15:clr>
        </p15:guide>
        <p15:guide id="2" pos="279">
          <p15:clr>
            <a:srgbClr val="C35EA4"/>
          </p15:clr>
        </p15:guide>
        <p15:guide id="3" pos="7401">
          <p15:clr>
            <a:srgbClr val="C35EA4"/>
          </p15:clr>
        </p15:guide>
        <p15:guide id="4" orient="horz" pos="2319">
          <p15:clr>
            <a:srgbClr val="C35EA4"/>
          </p15:clr>
        </p15:guide>
        <p15:guide id="5" orient="horz" pos="3680">
          <p15:clr>
            <a:srgbClr val="C35EA4"/>
          </p15:clr>
        </p15:guide>
        <p15:guide id="6" orient="horz" pos="981">
          <p15:clr>
            <a:srgbClr val="C35EA4"/>
          </p15:clr>
        </p15:guide>
        <p15:guide id="7" pos="3727">
          <p15:clr>
            <a:srgbClr val="C35EA4"/>
          </p15:clr>
        </p15:guide>
        <p15:guide id="8" pos="3953">
          <p15:clr>
            <a:srgbClr val="C35EA4"/>
          </p15:clr>
        </p15:guide>
        <p15:guide id="9" orient="horz" pos="210">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tandard-Textfolie">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65" name="think-cell Slide" r:id="rId4" imgW="344" imgH="344" progId="TCLayout.ActiveDocument.1">
                  <p:embed/>
                </p:oleObj>
              </mc:Choice>
              <mc:Fallback>
                <p:oleObj name="think-cell Slide" r:id="rId4" imgW="344" imgH="344"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hasCustomPrompt="1"/>
          </p:nvPr>
        </p:nvSpPr>
        <p:spPr/>
        <p:txBody>
          <a:bodyPr/>
          <a:lstStyle>
            <a:lvl1pPr>
              <a:defRPr baseline="0"/>
            </a:lvl1pPr>
          </a:lstStyle>
          <a:p>
            <a:r>
              <a:rPr lang="en-US" noProof="0" dirty="0" smtClean="0"/>
              <a:t>Heading, Arial 24 pt bold, max. 2 lines</a:t>
            </a:r>
            <a:endParaRPr lang="en-US" noProof="0" dirty="0"/>
          </a:p>
        </p:txBody>
      </p:sp>
      <p:sp>
        <p:nvSpPr>
          <p:cNvPr id="9" name="Gefaltete Ecke 8"/>
          <p:cNvSpPr/>
          <p:nvPr userDrawn="1"/>
        </p:nvSpPr>
        <p:spPr>
          <a:xfrm>
            <a:off x="-1176808" y="2744924"/>
            <a:ext cx="1073161" cy="1073161"/>
          </a:xfrm>
          <a:prstGeom prst="foldedCorner">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180000" rIns="36000" rtlCol="0" anchor="t" anchorCtr="0"/>
          <a:lstStyle/>
          <a:p>
            <a:r>
              <a:rPr lang="en-US" sz="1200" dirty="0">
                <a:solidFill>
                  <a:prstClr val="black"/>
                </a:solidFill>
              </a:rPr>
              <a:t>Layout: </a:t>
            </a:r>
            <a:r>
              <a:rPr lang="en-US" sz="1600" dirty="0">
                <a:solidFill>
                  <a:prstClr val="black"/>
                </a:solidFill>
              </a:rPr>
              <a:t>Standard text slide</a:t>
            </a:r>
          </a:p>
        </p:txBody>
      </p:sp>
      <p:sp>
        <p:nvSpPr>
          <p:cNvPr id="5" name="Datumsplatzhalter 4"/>
          <p:cNvSpPr>
            <a:spLocks noGrp="1"/>
          </p:cNvSpPr>
          <p:nvPr>
            <p:ph type="dt" sz="half" idx="10"/>
          </p:nvPr>
        </p:nvSpPr>
        <p:spPr/>
        <p:txBody>
          <a:bodyPr/>
          <a:lstStyle/>
          <a:p>
            <a:endParaRPr lang="en-US" dirty="0">
              <a:solidFill>
                <a:prstClr val="black"/>
              </a:solidFill>
            </a:endParaRPr>
          </a:p>
        </p:txBody>
      </p:sp>
      <p:sp>
        <p:nvSpPr>
          <p:cNvPr id="6" name="Fußzeilenplatzhalter 5"/>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Tree>
    <p:extLst>
      <p:ext uri="{BB962C8B-B14F-4D97-AF65-F5344CB8AC3E}">
        <p14:creationId xmlns:p14="http://schemas.microsoft.com/office/powerpoint/2010/main" val="11705151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3840">
          <p15:clr>
            <a:srgbClr val="C35EA4"/>
          </p15:clr>
        </p15:guide>
        <p15:guide id="2" pos="279">
          <p15:clr>
            <a:srgbClr val="C35EA4"/>
          </p15:clr>
        </p15:guide>
        <p15:guide id="3" pos="7401">
          <p15:clr>
            <a:srgbClr val="C35EA4"/>
          </p15:clr>
        </p15:guide>
        <p15:guide id="4" orient="horz" pos="2319">
          <p15:clr>
            <a:srgbClr val="C35EA4"/>
          </p15:clr>
        </p15:guide>
        <p15:guide id="5" orient="horz" pos="3840">
          <p15:clr>
            <a:srgbClr val="C35EA4"/>
          </p15:clr>
        </p15:guide>
        <p15:guide id="6" orient="horz" pos="864">
          <p15:clr>
            <a:srgbClr val="C35EA4"/>
          </p15:clr>
        </p15:guide>
        <p15:guide id="7" pos="3727">
          <p15:clr>
            <a:srgbClr val="C35EA4"/>
          </p15:clr>
        </p15:guide>
        <p15:guide id="8" pos="3953">
          <p15:clr>
            <a:srgbClr val="C35EA4"/>
          </p15:clr>
        </p15:guide>
        <p15:guide id="9" orient="horz" pos="210">
          <p15:clr>
            <a:srgbClr val="C35EA4"/>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8" name="think-cell Slide" r:id="rId10" imgW="344" imgH="344" progId="TCLayout.ActiveDocument.1">
                  <p:embed/>
                </p:oleObj>
              </mc:Choice>
              <mc:Fallback>
                <p:oleObj name="think-cell Slide" r:id="rId10" imgW="344" imgH="344" progId="TCLayout.ActiveDocument.1">
                  <p:embed/>
                  <p:pic>
                    <p:nvPicPr>
                      <p:cNvPr id="0" name=""/>
                      <p:cNvPicPr/>
                      <p:nvPr/>
                    </p:nvPicPr>
                    <p:blipFill>
                      <a:blip r:embed="rId1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442913" y="332656"/>
            <a:ext cx="11304000" cy="684000"/>
          </a:xfrm>
          <a:prstGeom prst="rect">
            <a:avLst/>
          </a:prstGeom>
        </p:spPr>
        <p:txBody>
          <a:bodyPr vert="horz" lIns="0" tIns="0" rIns="0" bIns="0" rtlCol="0" anchor="b">
            <a:noAutofit/>
          </a:bodyPr>
          <a:lstStyle/>
          <a:p>
            <a:r>
              <a:rPr lang="en-US" noProof="0" dirty="0" err="1" smtClean="0"/>
              <a:t>Titelmasterformat</a:t>
            </a:r>
            <a:r>
              <a:rPr lang="en-US" noProof="0" dirty="0" smtClean="0"/>
              <a:t> </a:t>
            </a:r>
            <a:r>
              <a:rPr lang="en-US" noProof="0" dirty="0" err="1" smtClean="0"/>
              <a:t>durch</a:t>
            </a:r>
            <a:r>
              <a:rPr lang="en-US" noProof="0" dirty="0" smtClean="0"/>
              <a:t> </a:t>
            </a:r>
            <a:r>
              <a:rPr lang="en-US" noProof="0" dirty="0" err="1" smtClean="0"/>
              <a:t>Klicken</a:t>
            </a:r>
            <a:r>
              <a:rPr lang="en-US" noProof="0" dirty="0" smtClean="0"/>
              <a:t> </a:t>
            </a:r>
            <a:r>
              <a:rPr lang="en-US" noProof="0" dirty="0" err="1" smtClean="0"/>
              <a:t>bearbeiten</a:t>
            </a:r>
            <a:endParaRPr lang="en-US" noProof="0" dirty="0"/>
          </a:p>
        </p:txBody>
      </p:sp>
      <p:sp>
        <p:nvSpPr>
          <p:cNvPr id="3" name="Text Placeholder 2"/>
          <p:cNvSpPr>
            <a:spLocks noGrp="1"/>
          </p:cNvSpPr>
          <p:nvPr>
            <p:ph type="body" idx="1"/>
          </p:nvPr>
        </p:nvSpPr>
        <p:spPr>
          <a:xfrm>
            <a:off x="442913" y="1371600"/>
            <a:ext cx="11304000" cy="4724400"/>
          </a:xfrm>
          <a:prstGeom prst="rect">
            <a:avLst/>
          </a:prstGeom>
        </p:spPr>
        <p:txBody>
          <a:bodyPr vert="horz" lIns="0" tIns="0" rIns="0" bIns="0" rtlCol="0">
            <a:noAutofit/>
          </a:bodyPr>
          <a:lstStyle/>
          <a:p>
            <a:pPr lvl="0"/>
            <a:r>
              <a:rPr lang="en-US" noProof="0" dirty="0" smtClean="0"/>
              <a:t>Click to edit</a:t>
            </a:r>
          </a:p>
          <a:p>
            <a:pPr lvl="1"/>
            <a:r>
              <a:rPr lang="en-US" noProof="0" dirty="0" smtClean="0"/>
              <a:t>Level 2</a:t>
            </a:r>
          </a:p>
          <a:p>
            <a:pPr lvl="2"/>
            <a:r>
              <a:rPr lang="en-US" noProof="0" dirty="0" smtClean="0"/>
              <a:t>Level 3</a:t>
            </a:r>
          </a:p>
          <a:p>
            <a:pPr lvl="3"/>
            <a:r>
              <a:rPr lang="en-US" noProof="0" dirty="0" smtClean="0"/>
              <a:t>Level 4</a:t>
            </a:r>
          </a:p>
          <a:p>
            <a:pPr lvl="4"/>
            <a:r>
              <a:rPr lang="en-US" noProof="0" dirty="0" smtClean="0"/>
              <a:t>Level 5</a:t>
            </a:r>
          </a:p>
          <a:p>
            <a:pPr lvl="5"/>
            <a:r>
              <a:rPr lang="en-US" noProof="0" dirty="0" smtClean="0"/>
              <a:t>Level 6</a:t>
            </a:r>
          </a:p>
          <a:p>
            <a:pPr lvl="6"/>
            <a:r>
              <a:rPr lang="en-US" noProof="0" dirty="0" smtClean="0"/>
              <a:t>Level 7</a:t>
            </a:r>
          </a:p>
          <a:p>
            <a:pPr lvl="7"/>
            <a:r>
              <a:rPr lang="en-US" noProof="0" dirty="0" smtClean="0"/>
              <a:t>Level 8</a:t>
            </a:r>
          </a:p>
          <a:p>
            <a:pPr lvl="8"/>
            <a:r>
              <a:rPr lang="en-US" noProof="0" dirty="0" smtClean="0"/>
              <a:t>Level 9</a:t>
            </a:r>
            <a:endParaRPr lang="en-US" noProof="0" dirty="0"/>
          </a:p>
        </p:txBody>
      </p:sp>
      <p:sp>
        <p:nvSpPr>
          <p:cNvPr id="4" name="Date Placeholder 3"/>
          <p:cNvSpPr>
            <a:spLocks noGrp="1"/>
          </p:cNvSpPr>
          <p:nvPr>
            <p:ph type="dt" sz="half" idx="2"/>
          </p:nvPr>
        </p:nvSpPr>
        <p:spPr>
          <a:xfrm>
            <a:off x="695400" y="6471927"/>
            <a:ext cx="2743200" cy="123111"/>
          </a:xfrm>
          <a:prstGeom prst="rect">
            <a:avLst/>
          </a:prstGeom>
          <a:noFill/>
        </p:spPr>
        <p:txBody>
          <a:bodyPr wrap="square" lIns="0" tIns="0" rIns="0" bIns="0" rtlCol="0">
            <a:noAutofit/>
          </a:bodyPr>
          <a:lstStyle>
            <a:lvl1pPr>
              <a:defRPr lang="de-DE" sz="800" smtClean="0"/>
            </a:lvl1pPr>
          </a:lstStyle>
          <a:p>
            <a:endParaRPr lang="en-US" dirty="0">
              <a:solidFill>
                <a:prstClr val="black"/>
              </a:solidFill>
            </a:endParaRPr>
          </a:p>
        </p:txBody>
      </p:sp>
      <p:sp>
        <p:nvSpPr>
          <p:cNvPr id="5" name="Footer Placeholder 4"/>
          <p:cNvSpPr>
            <a:spLocks noGrp="1"/>
          </p:cNvSpPr>
          <p:nvPr>
            <p:ph type="ftr" sz="quarter" idx="3"/>
          </p:nvPr>
        </p:nvSpPr>
        <p:spPr>
          <a:xfrm>
            <a:off x="695402" y="6331354"/>
            <a:ext cx="8549631" cy="123111"/>
          </a:xfrm>
          <a:prstGeom prst="rect">
            <a:avLst/>
          </a:prstGeom>
          <a:noFill/>
        </p:spPr>
        <p:txBody>
          <a:bodyPr wrap="square" lIns="0" tIns="0" rIns="0" bIns="0" rtlCol="0">
            <a:noAutofit/>
          </a:bodyPr>
          <a:lstStyle>
            <a:lvl1pPr>
              <a:defRPr lang="de-DE" sz="800"/>
            </a:lvl1pPr>
          </a:lstStyle>
          <a:p>
            <a:r>
              <a:rPr lang="en-US" smtClean="0">
                <a:solidFill>
                  <a:prstClr val="black"/>
                </a:solidFill>
              </a:rPr>
              <a:t>ROBO SP Meeting - August 2019</a:t>
            </a:r>
            <a:endParaRPr lang="en-US" dirty="0">
              <a:solidFill>
                <a:prstClr val="black"/>
              </a:solidFill>
            </a:endParaRPr>
          </a:p>
        </p:txBody>
      </p:sp>
      <p:sp>
        <p:nvSpPr>
          <p:cNvPr id="10" name="Rechteck 9"/>
          <p:cNvSpPr/>
          <p:nvPr userDrawn="1"/>
        </p:nvSpPr>
        <p:spPr bwMode="invGray">
          <a:xfrm>
            <a:off x="442913" y="1047919"/>
            <a:ext cx="11304000" cy="1800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cs typeface="Arial" panose="020B0604020202020204" pitchFamily="34" charset="0"/>
            </a:endParaRPr>
          </a:p>
        </p:txBody>
      </p:sp>
      <p:sp>
        <p:nvSpPr>
          <p:cNvPr id="27" name="Textfeld 26"/>
          <p:cNvSpPr txBox="1"/>
          <p:nvPr userDrawn="1"/>
        </p:nvSpPr>
        <p:spPr>
          <a:xfrm>
            <a:off x="442913" y="6331354"/>
            <a:ext cx="309265" cy="123111"/>
          </a:xfrm>
          <a:prstGeom prst="rect">
            <a:avLst/>
          </a:prstGeom>
          <a:noFill/>
        </p:spPr>
        <p:txBody>
          <a:bodyPr wrap="none" lIns="0" tIns="0" rIns="0" bIns="0" rtlCol="0">
            <a:noAutofit/>
          </a:bodyPr>
          <a:lstStyle/>
          <a:p>
            <a:pPr>
              <a:defRPr/>
            </a:pPr>
            <a:fld id="{14024BB3-640A-42C7-B78D-F5C774E154A6}" type="slidenum">
              <a:rPr lang="en-US" sz="800">
                <a:solidFill>
                  <a:prstClr val="black"/>
                </a:solidFill>
              </a:rPr>
              <a:pPr>
                <a:defRPr/>
              </a:pPr>
              <a:t>‹#›</a:t>
            </a:fld>
            <a:endParaRPr lang="en-US" sz="800" dirty="0">
              <a:solidFill>
                <a:prstClr val="black"/>
              </a:solidFill>
            </a:endParaRPr>
          </a:p>
        </p:txBody>
      </p:sp>
      <p:sp>
        <p:nvSpPr>
          <p:cNvPr id="51" name="Rechteck 50" hidden="1"/>
          <p:cNvSpPr/>
          <p:nvPr userDrawn="1">
            <p:custDataLst>
              <p:tags r:id="rId8"/>
            </p:custDataLst>
          </p:nvPr>
        </p:nvSpPr>
        <p:spPr>
          <a:xfrm>
            <a:off x="9600758" y="5843386"/>
            <a:ext cx="2591241" cy="101461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600" dirty="0">
              <a:solidFill>
                <a:prstClr val="black"/>
              </a:solidFill>
            </a:endParaRPr>
          </a:p>
        </p:txBody>
      </p:sp>
      <p:sp>
        <p:nvSpPr>
          <p:cNvPr id="6" name="empower - DO NOT DELETE!!!" hidden="1"/>
          <p:cNvSpPr/>
          <p:nvPr userDrawn="1">
            <p:custDataLst>
              <p:tags r:id="rId9"/>
            </p:custDataLst>
          </p:nvPr>
        </p:nvSpPr>
        <p:spPr>
          <a:xfrm>
            <a:off x="-1270000" y="-1270000"/>
            <a:ext cx="0" cy="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de-DE" sz="1600" dirty="0" err="1">
              <a:solidFill>
                <a:prstClr val="black"/>
              </a:solidFill>
            </a:endParaRPr>
          </a:p>
        </p:txBody>
      </p:sp>
    </p:spTree>
    <p:extLst>
      <p:ext uri="{BB962C8B-B14F-4D97-AF65-F5344CB8AC3E}">
        <p14:creationId xmlns:p14="http://schemas.microsoft.com/office/powerpoint/2010/main" val="198643052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sldNum="0" hdr="0" dt="0"/>
  <p:txStyles>
    <p:titleStyle>
      <a:lvl1pPr algn="l" defTabSz="914400" rtl="0" eaLnBrk="1" latinLnBrk="0" hangingPunct="1">
        <a:lnSpc>
          <a:spcPct val="90000"/>
        </a:lnSpc>
        <a:spcBef>
          <a:spcPct val="0"/>
        </a:spcBef>
        <a:buNone/>
        <a:defRPr sz="2400" b="1" kern="1200">
          <a:solidFill>
            <a:schemeClr val="tx1"/>
          </a:solidFill>
          <a:latin typeface="Calibri" panose="020F0502020204030204" pitchFamily="34" charset="0"/>
          <a:ea typeface="+mj-ea"/>
          <a:cs typeface="+mj-cs"/>
        </a:defRPr>
      </a:lvl1pPr>
    </p:titleStyle>
    <p:bodyStyle>
      <a:lvl1pPr marL="180000" indent="-180000" algn="l" defTabSz="914400" rtl="0" eaLnBrk="1" latinLnBrk="0" hangingPunct="1">
        <a:lnSpc>
          <a:spcPct val="100000"/>
        </a:lnSpc>
        <a:spcBef>
          <a:spcPts val="1200"/>
        </a:spcBef>
        <a:buFont typeface="Wingdings" panose="05000000000000000000" pitchFamily="2" charset="2"/>
        <a:buChar char="§"/>
        <a:defRPr sz="2000" kern="1200">
          <a:solidFill>
            <a:schemeClr val="tx1"/>
          </a:solidFill>
          <a:latin typeface="Calibri" panose="020F0502020204030204" pitchFamily="34" charset="0"/>
          <a:ea typeface="+mn-ea"/>
          <a:cs typeface="+mn-cs"/>
        </a:defRPr>
      </a:lvl1pPr>
      <a:lvl2pPr marL="360000" indent="-180000" algn="l" defTabSz="914400" rtl="0" eaLnBrk="1" latinLnBrk="0" hangingPunct="1">
        <a:lnSpc>
          <a:spcPct val="100000"/>
        </a:lnSpc>
        <a:spcBef>
          <a:spcPts val="1200"/>
        </a:spcBef>
        <a:buFont typeface="Symbol" panose="05050102010706020507" pitchFamily="18" charset="2"/>
        <a:buChar char="-"/>
        <a:defRPr sz="1800" kern="1200">
          <a:solidFill>
            <a:schemeClr val="tx1"/>
          </a:solidFill>
          <a:latin typeface="Calibri" panose="020F0502020204030204" pitchFamily="34" charset="0"/>
          <a:ea typeface="+mn-ea"/>
          <a:cs typeface="+mn-cs"/>
        </a:defRPr>
      </a:lvl2pPr>
      <a:lvl3pPr marL="54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3pPr>
      <a:lvl4pPr marL="72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4pPr>
      <a:lvl5pPr marL="90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5pPr>
      <a:lvl6pPr marL="108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6pPr>
      <a:lvl7pPr marL="126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7pPr>
      <a:lvl8pPr marL="1438275"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8pPr>
      <a:lvl9pPr marL="161925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chart" Target="../charts/chart1.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28.xml"/><Relationship Id="rId7" Type="http://schemas.openxmlformats.org/officeDocument/2006/relationships/image" Target="../media/image9.png"/><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34.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Layout" Target="../slideLayouts/slideLayout2.xml"/><Relationship Id="rId9" Type="http://schemas.openxmlformats.org/officeDocument/2006/relationships/chart" Target="../charts/chart4.xml"/></Relationships>
</file>

<file path=ppt/slides/_rels/slide19.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12.xml"/><Relationship Id="rId7" Type="http://schemas.openxmlformats.org/officeDocument/2006/relationships/image" Target="../media/image2.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2.xml"/><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18.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20.xml"/><Relationship Id="rId7" Type="http://schemas.openxmlformats.org/officeDocument/2006/relationships/image" Target="../media/image7.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Layout" Target="../slideLayouts/slideLayout2.xml"/><Relationship Id="rId9" Type="http://schemas.openxmlformats.org/officeDocument/2006/relationships/hyperlink" Target="http://www.astmtmc.cmu.edu/ftp/docs/ltms/ltms.pdf"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en-US" dirty="0" smtClean="0"/>
              <a:t>ROBO Surveillance Panel Meeting</a:t>
            </a:r>
            <a:endParaRPr lang="en-US" dirty="0"/>
          </a:p>
        </p:txBody>
      </p:sp>
      <p:sp>
        <p:nvSpPr>
          <p:cNvPr id="3" name="Untertitel 2"/>
          <p:cNvSpPr>
            <a:spLocks noGrp="1"/>
          </p:cNvSpPr>
          <p:nvPr>
            <p:ph type="subTitle" idx="1"/>
          </p:nvPr>
        </p:nvSpPr>
        <p:spPr/>
        <p:txBody>
          <a:bodyPr/>
          <a:lstStyle/>
          <a:p>
            <a:r>
              <a:rPr lang="en-US" dirty="0"/>
              <a:t>Justin </a:t>
            </a:r>
            <a:r>
              <a:rPr lang="en-US" dirty="0" smtClean="0"/>
              <a:t>Mills</a:t>
            </a:r>
            <a:endParaRPr lang="en-US" dirty="0"/>
          </a:p>
        </p:txBody>
      </p:sp>
      <p:sp>
        <p:nvSpPr>
          <p:cNvPr id="4" name="Textplatzhalter 3"/>
          <p:cNvSpPr>
            <a:spLocks noGrp="1"/>
          </p:cNvSpPr>
          <p:nvPr>
            <p:ph type="body" sz="quarter" idx="12"/>
          </p:nvPr>
        </p:nvSpPr>
        <p:spPr/>
        <p:txBody>
          <a:bodyPr/>
          <a:lstStyle/>
          <a:p>
            <a:r>
              <a:rPr lang="en-US" dirty="0" smtClean="0"/>
              <a:t>August 8, 2019</a:t>
            </a:r>
            <a:endParaRPr lang="en-US" dirty="0"/>
          </a:p>
        </p:txBody>
      </p:sp>
    </p:spTree>
    <p:extLst>
      <p:ext uri="{BB962C8B-B14F-4D97-AF65-F5344CB8AC3E}">
        <p14:creationId xmlns:p14="http://schemas.microsoft.com/office/powerpoint/2010/main" val="3812403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2319537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t>TMC </a:t>
            </a:r>
            <a:r>
              <a:rPr lang="en-US" dirty="0" smtClean="0"/>
              <a:t>434-3 approval</a:t>
            </a:r>
            <a:br>
              <a:rPr lang="en-US" dirty="0" smtClean="0"/>
            </a:br>
            <a:r>
              <a:rPr lang="en-US" b="0" dirty="0" smtClean="0"/>
              <a:t>TMC 434-2 levels are critically low</a:t>
            </a: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13269559"/>
              </p:ext>
            </p:extLst>
          </p:nvPr>
        </p:nvGraphicFramePr>
        <p:xfrm>
          <a:off x="442913" y="1371600"/>
          <a:ext cx="11304005" cy="3185475"/>
        </p:xfrm>
        <a:graphic>
          <a:graphicData uri="http://schemas.openxmlformats.org/drawingml/2006/table">
            <a:tbl>
              <a:tblPr firstRow="1">
                <a:tableStyleId>{5C22544A-7EE6-4342-B048-85BDC9FD1C3A}</a:tableStyleId>
              </a:tblPr>
              <a:tblGrid>
                <a:gridCol w="922776"/>
                <a:gridCol w="922776"/>
                <a:gridCol w="1153469"/>
                <a:gridCol w="922776"/>
                <a:gridCol w="922776"/>
                <a:gridCol w="922776"/>
                <a:gridCol w="922776"/>
                <a:gridCol w="922776"/>
                <a:gridCol w="922776"/>
                <a:gridCol w="922776"/>
                <a:gridCol w="922776"/>
                <a:gridCol w="922776"/>
              </a:tblGrid>
              <a:tr h="165625">
                <a:tc>
                  <a:txBody>
                    <a:bodyPr/>
                    <a:lstStyle/>
                    <a:p>
                      <a:pPr algn="l" fontAlgn="b"/>
                      <a:r>
                        <a:rPr lang="en-US" sz="1400" b="0" i="0" u="none" strike="noStrike" dirty="0">
                          <a:solidFill>
                            <a:srgbClr val="000000"/>
                          </a:solidFill>
                          <a:effectLst/>
                          <a:latin typeface="Calibri" panose="020F0502020204030204" pitchFamily="34" charset="0"/>
                        </a:rPr>
                        <a:t>METHOD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IND</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TESTKEY</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DTCOMP</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APPARATS</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MRVTEMP</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MRVYSEOT</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MRV</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MRVti</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VAL</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VOLEOT</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PVIS</a:t>
                      </a:r>
                    </a:p>
                  </a:txBody>
                  <a:tcPr marL="9525" marR="9525" marT="9525" marB="0" anchor="b"/>
                </a:tc>
              </a:tr>
              <a:tr h="296259">
                <a:tc>
                  <a:txBody>
                    <a:bodyPr/>
                    <a:lstStyle/>
                    <a:p>
                      <a:pPr algn="l" fontAlgn="b"/>
                      <a:r>
                        <a:rPr lang="en-US" sz="1400" b="0" i="0" u="none" strike="noStrike">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434-3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145027-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502</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 11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a:t>
                      </a:r>
                      <a:r>
                        <a:rPr lang="en-US" sz="1400" b="0" i="0" u="none" strike="noStrike" dirty="0">
                          <a:solidFill>
                            <a:srgbClr val="FF0000"/>
                          </a:solidFill>
                          <a:effectLst/>
                          <a:latin typeface="Calibri" panose="020F0502020204030204" pitchFamily="34" charset="0"/>
                        </a:rPr>
                        <a:t>&lt;70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73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7643</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R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7</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83.4</a:t>
                      </a:r>
                    </a:p>
                  </a:txBody>
                  <a:tcPr marL="9525" marR="9525" marT="9525" marB="0" anchor="b"/>
                </a:tc>
              </a:tr>
              <a:tr h="296259">
                <a:tc>
                  <a:txBody>
                    <a:bodyPr/>
                    <a:lstStyle/>
                    <a:p>
                      <a:pPr algn="l" fontAlgn="b"/>
                      <a:r>
                        <a:rPr lang="en-US" sz="1400" b="0" i="0" u="none" strike="noStrike">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434-3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145003-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503</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B 2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lt;35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519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8571</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9</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93.7</a:t>
                      </a:r>
                    </a:p>
                  </a:txBody>
                  <a:tcPr marL="9525" marR="9525" marT="9525" marB="0" anchor="b"/>
                </a:tc>
              </a:tr>
              <a:tr h="296259">
                <a:tc>
                  <a:txBody>
                    <a:bodyPr/>
                    <a:lstStyle/>
                    <a:p>
                      <a:pPr algn="l" fontAlgn="b"/>
                      <a:r>
                        <a:rPr lang="en-US" sz="1400" b="0" i="0" u="none" strike="noStrike">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434-3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145005-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505</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B 2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lt;35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508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8357</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9</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96.3</a:t>
                      </a:r>
                    </a:p>
                  </a:txBody>
                  <a:tcPr marL="9525" marR="9525" marT="9525" marB="0" anchor="b"/>
                </a:tc>
              </a:tr>
              <a:tr h="296259">
                <a:tc>
                  <a:txBody>
                    <a:bodyPr/>
                    <a:lstStyle/>
                    <a:p>
                      <a:pPr algn="l" fontAlgn="b"/>
                      <a:r>
                        <a:rPr lang="en-US" sz="1400" b="0" i="0" u="none" strike="noStrike">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434-3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145004-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508</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B 4A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lt;35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31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6713</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6</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75.7</a:t>
                      </a:r>
                    </a:p>
                  </a:txBody>
                  <a:tcPr marL="9525" marR="9525" marT="9525" marB="0" anchor="b"/>
                </a:tc>
              </a:tr>
              <a:tr h="296259">
                <a:tc>
                  <a:txBody>
                    <a:bodyPr/>
                    <a:lstStyle/>
                    <a:p>
                      <a:pPr algn="l" fontAlgn="b"/>
                      <a:r>
                        <a:rPr lang="en-US" sz="1400" b="0" i="0" u="none" strike="noStrike">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434-3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145006-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519</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B 4A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lt;35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96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5866</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4</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66.7</a:t>
                      </a:r>
                    </a:p>
                  </a:txBody>
                  <a:tcPr marL="9525" marR="9525" marT="9525" marB="0" anchor="b"/>
                </a:tc>
              </a:tr>
              <a:tr h="296259">
                <a:tc>
                  <a:txBody>
                    <a:bodyPr/>
                    <a:lstStyle/>
                    <a:p>
                      <a:pPr algn="l" fontAlgn="b"/>
                      <a:r>
                        <a:rPr lang="en-US" sz="1400" b="0" i="0" u="none" strike="noStrike">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434-3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145028-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531</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 5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a:t>
                      </a:r>
                      <a:r>
                        <a:rPr lang="en-US" sz="1400" b="0" i="0" u="none" strike="noStrike" dirty="0">
                          <a:solidFill>
                            <a:srgbClr val="FF0000"/>
                          </a:solidFill>
                          <a:effectLst/>
                          <a:latin typeface="Calibri" panose="020F0502020204030204" pitchFamily="34" charset="0"/>
                        </a:rPr>
                        <a:t>&lt;70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31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6713</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3</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72.6</a:t>
                      </a:r>
                    </a:p>
                  </a:txBody>
                  <a:tcPr marL="9525" marR="9525" marT="9525" marB="0" anchor="b"/>
                </a:tc>
              </a:tr>
              <a:tr h="296259">
                <a:tc>
                  <a:txBody>
                    <a:bodyPr/>
                    <a:lstStyle/>
                    <a:p>
                      <a:pPr algn="l" fontAlgn="b"/>
                      <a:r>
                        <a:rPr lang="en-US" sz="1400" b="0" i="0" u="none" strike="noStrike" dirty="0">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434-3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145021-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607</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M 4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lt;35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557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9277</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8</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97.2</a:t>
                      </a:r>
                    </a:p>
                  </a:txBody>
                  <a:tcPr marL="9525" marR="9525" marT="9525" marB="0" anchor="b"/>
                </a:tc>
              </a:tr>
              <a:tr h="296259">
                <a:tc>
                  <a:txBody>
                    <a:bodyPr/>
                    <a:lstStyle/>
                    <a:p>
                      <a:pPr algn="l" fontAlgn="b"/>
                      <a:r>
                        <a:rPr lang="en-US" sz="1400" b="0" i="0" u="none" strike="noStrike" dirty="0">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smtClean="0">
                          <a:solidFill>
                            <a:srgbClr val="000000"/>
                          </a:solidFill>
                          <a:effectLst/>
                          <a:latin typeface="Calibri" panose="020F0502020204030204" pitchFamily="34" charset="0"/>
                        </a:rPr>
                        <a:t>434-3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145029-ROBO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20190627</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A 3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smtClean="0">
                          <a:solidFill>
                            <a:srgbClr val="000000"/>
                          </a:solidFill>
                          <a:effectLst/>
                          <a:latin typeface="Calibri" panose="020F0502020204030204" pitchFamily="34" charset="0"/>
                        </a:rPr>
                        <a:t>&lt;35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42800</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10.6643</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47</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84.1</a:t>
                      </a:r>
                    </a:p>
                  </a:txBody>
                  <a:tcPr marL="9525" marR="9525" marT="9525" marB="0" anchor="b"/>
                </a:tc>
              </a:tr>
              <a:tr h="296259">
                <a:tc>
                  <a:txBody>
                    <a:bodyPr/>
                    <a:lstStyle/>
                    <a:p>
                      <a:pPr algn="l" fontAlgn="b"/>
                      <a:r>
                        <a:rPr lang="en-US" sz="1400" b="0" i="0" u="none" strike="noStrike" dirty="0">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smtClean="0">
                          <a:solidFill>
                            <a:srgbClr val="000000"/>
                          </a:solidFill>
                          <a:effectLst/>
                          <a:latin typeface="Calibri" panose="020F0502020204030204" pitchFamily="34" charset="0"/>
                        </a:rPr>
                        <a:t>434-3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145051-ROBO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2019063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G 1            </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smtClean="0">
                          <a:solidFill>
                            <a:srgbClr val="000000"/>
                          </a:solidFill>
                          <a:effectLst/>
                          <a:latin typeface="Calibri" panose="020F0502020204030204" pitchFamily="34" charset="0"/>
                        </a:rPr>
                        <a:t>&lt;35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58000</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0.9682</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49</a:t>
                      </a:r>
                    </a:p>
                  </a:txBody>
                  <a:tcPr marL="9525" marR="9525" marT="9525" marB="0" anchor="b"/>
                </a:tc>
                <a:tc>
                  <a:txBody>
                    <a:bodyPr/>
                    <a:lstStyle/>
                    <a:p>
                      <a:pPr algn="l" fontAlgn="b"/>
                      <a:r>
                        <a:rPr lang="en-US" sz="1400" b="0" i="0" u="none" strike="noStrike">
                          <a:solidFill>
                            <a:srgbClr val="000000"/>
                          </a:solidFill>
                          <a:effectLst/>
                          <a:latin typeface="Calibri" panose="020F0502020204030204" pitchFamily="34" charset="0"/>
                        </a:rPr>
                        <a:t>125.4</a:t>
                      </a:r>
                    </a:p>
                  </a:txBody>
                  <a:tcPr marL="9525" marR="9525" marT="9525" marB="0" anchor="b"/>
                </a:tc>
              </a:tr>
              <a:tr h="296259">
                <a:tc>
                  <a:txBody>
                    <a:bodyPr/>
                    <a:lstStyle/>
                    <a:p>
                      <a:pPr algn="l" fontAlgn="b"/>
                      <a:r>
                        <a:rPr lang="en-US" sz="1400" b="0" i="0" u="none" strike="noStrike" dirty="0">
                          <a:solidFill>
                            <a:srgbClr val="000000"/>
                          </a:solidFill>
                          <a:effectLst/>
                          <a:latin typeface="Calibri" panose="020F0502020204030204" pitchFamily="34" charset="0"/>
                        </a:rPr>
                        <a:t>ROBO    </a:t>
                      </a: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434-3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145053-ROBO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20190717</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G 6            </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30</a:t>
                      </a:r>
                    </a:p>
                  </a:txBody>
                  <a:tcPr marL="9525" marR="9525" marT="9525" marB="0" anchor="b"/>
                </a:tc>
                <a:tc>
                  <a:txBody>
                    <a:bodyPr/>
                    <a:lstStyle/>
                    <a:p>
                      <a:pPr algn="l" fontAlgn="b"/>
                      <a:r>
                        <a:rPr lang="en-US" sz="1400" b="0" i="0" u="none" strike="noStrike" dirty="0" smtClean="0">
                          <a:solidFill>
                            <a:srgbClr val="000000"/>
                          </a:solidFill>
                          <a:effectLst/>
                          <a:latin typeface="Calibri" panose="020F0502020204030204" pitchFamily="34" charset="0"/>
                        </a:rPr>
                        <a:t>&lt;35 </a:t>
                      </a:r>
                      <a:endParaRPr lang="en-US"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51800</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10.8551</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 AG</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44</a:t>
                      </a:r>
                    </a:p>
                  </a:txBody>
                  <a:tcPr marL="9525" marR="9525" marT="9525" marB="0" anchor="b"/>
                </a:tc>
                <a:tc>
                  <a:txBody>
                    <a:bodyPr/>
                    <a:lstStyle/>
                    <a:p>
                      <a:pPr algn="l" fontAlgn="b"/>
                      <a:r>
                        <a:rPr lang="en-US" sz="1400" b="0" i="0" u="none" strike="noStrike" dirty="0">
                          <a:solidFill>
                            <a:srgbClr val="000000"/>
                          </a:solidFill>
                          <a:effectLst/>
                          <a:latin typeface="Calibri" panose="020F0502020204030204" pitchFamily="34" charset="0"/>
                        </a:rPr>
                        <a:t>99.4</a:t>
                      </a:r>
                    </a:p>
                  </a:txBody>
                  <a:tcPr marL="9525" marR="9525" marT="9525" marB="0" anchor="b"/>
                </a:tc>
              </a:tr>
            </a:tbl>
          </a:graphicData>
        </a:graphic>
      </p:graphicFrame>
      <p:sp>
        <p:nvSpPr>
          <p:cNvPr id="7" name="Content Placeholder 2"/>
          <p:cNvSpPr txBox="1">
            <a:spLocks/>
          </p:cNvSpPr>
          <p:nvPr/>
        </p:nvSpPr>
        <p:spPr>
          <a:xfrm>
            <a:off x="445088" y="5053264"/>
            <a:ext cx="11304000" cy="1042736"/>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1200"/>
              </a:spcBef>
              <a:buFont typeface="Wingdings" panose="05000000000000000000" pitchFamily="2" charset="2"/>
              <a:buChar char="§"/>
              <a:defRPr sz="2000" kern="1200">
                <a:solidFill>
                  <a:schemeClr val="tx1"/>
                </a:solidFill>
                <a:latin typeface="Calibri" panose="020F0502020204030204" pitchFamily="34" charset="0"/>
                <a:ea typeface="+mn-ea"/>
                <a:cs typeface="+mn-cs"/>
              </a:defRPr>
            </a:lvl1pPr>
            <a:lvl2pPr marL="360000" indent="-180000" algn="l" defTabSz="914400" rtl="0" eaLnBrk="1" latinLnBrk="0" hangingPunct="1">
              <a:lnSpc>
                <a:spcPct val="100000"/>
              </a:lnSpc>
              <a:spcBef>
                <a:spcPts val="1200"/>
              </a:spcBef>
              <a:buFont typeface="Symbol" panose="05050102010706020507" pitchFamily="18" charset="2"/>
              <a:buChar char="-"/>
              <a:defRPr sz="1800" kern="1200">
                <a:solidFill>
                  <a:schemeClr val="tx1"/>
                </a:solidFill>
                <a:latin typeface="Calibri" panose="020F0502020204030204" pitchFamily="34" charset="0"/>
                <a:ea typeface="+mn-ea"/>
                <a:cs typeface="+mn-cs"/>
              </a:defRPr>
            </a:lvl2pPr>
            <a:lvl3pPr marL="54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3pPr>
            <a:lvl4pPr marL="72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4pPr>
            <a:lvl5pPr marL="90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5pPr>
            <a:lvl6pPr marL="108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6pPr>
            <a:lvl7pPr marL="126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7pPr>
            <a:lvl8pPr marL="1438275"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8pPr>
            <a:lvl9pPr marL="161925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9pPr>
          </a:lstStyle>
          <a:p>
            <a:r>
              <a:rPr lang="en-US" dirty="0" smtClean="0"/>
              <a:t>MRV viscosities seem more comparable to 434-1 than 434-2, but issue of yield stress needs to be resolved.</a:t>
            </a:r>
          </a:p>
          <a:p>
            <a:r>
              <a:rPr lang="en-US" dirty="0" smtClean="0"/>
              <a:t>More data is still required for analysis</a:t>
            </a:r>
          </a:p>
          <a:p>
            <a:endParaRPr lang="en-US" dirty="0" smtClean="0"/>
          </a:p>
        </p:txBody>
      </p:sp>
    </p:spTree>
    <p:extLst>
      <p:ext uri="{BB962C8B-B14F-4D97-AF65-F5344CB8AC3E}">
        <p14:creationId xmlns:p14="http://schemas.microsoft.com/office/powerpoint/2010/main" val="3272210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4221178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t>TMC 434-3 approval</a:t>
            </a:r>
            <a:br>
              <a:rPr lang="en-US" dirty="0"/>
            </a:br>
            <a:r>
              <a:rPr lang="en-US" b="0" dirty="0" smtClean="0"/>
              <a:t>Alignment with previous versions</a:t>
            </a: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graphicFrame>
        <p:nvGraphicFramePr>
          <p:cNvPr id="5" name="Content Placeholder 5"/>
          <p:cNvGraphicFramePr>
            <a:graphicFrameLocks noGrp="1"/>
          </p:cNvGraphicFramePr>
          <p:nvPr>
            <p:ph idx="1"/>
            <p:extLst>
              <p:ext uri="{D42A27DB-BD31-4B8C-83A1-F6EECF244321}">
                <p14:modId xmlns:p14="http://schemas.microsoft.com/office/powerpoint/2010/main" val="1861058656"/>
              </p:ext>
            </p:extLst>
          </p:nvPr>
        </p:nvGraphicFramePr>
        <p:xfrm>
          <a:off x="442913" y="1371600"/>
          <a:ext cx="11304587" cy="4724400"/>
        </p:xfrm>
        <a:graphic>
          <a:graphicData uri="http://schemas.openxmlformats.org/drawingml/2006/chart">
            <c:chart xmlns:c="http://schemas.openxmlformats.org/drawingml/2006/chart" xmlns:r="http://schemas.openxmlformats.org/officeDocument/2006/relationships" r:id="rId7"/>
          </a:graphicData>
        </a:graphic>
      </p:graphicFrame>
      <p:sp>
        <p:nvSpPr>
          <p:cNvPr id="6" name="Rectangle 5"/>
          <p:cNvSpPr/>
          <p:nvPr/>
        </p:nvSpPr>
        <p:spPr>
          <a:xfrm>
            <a:off x="1491916" y="3104147"/>
            <a:ext cx="9288379" cy="1203158"/>
          </a:xfrm>
          <a:prstGeom prst="rect">
            <a:avLst/>
          </a:prstGeom>
          <a:solidFill>
            <a:schemeClr val="accent2">
              <a:alpha val="10000"/>
            </a:schemeClr>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600" dirty="0" err="1" smtClean="0">
              <a:solidFill>
                <a:schemeClr val="tx1"/>
              </a:solidFill>
            </a:endParaRPr>
          </a:p>
        </p:txBody>
      </p:sp>
      <p:sp>
        <p:nvSpPr>
          <p:cNvPr id="7" name="Rectangle 6"/>
          <p:cNvSpPr/>
          <p:nvPr/>
        </p:nvSpPr>
        <p:spPr>
          <a:xfrm>
            <a:off x="1491916" y="2449902"/>
            <a:ext cx="9288379" cy="1449237"/>
          </a:xfrm>
          <a:prstGeom prst="rect">
            <a:avLst/>
          </a:prstGeom>
          <a:solidFill>
            <a:schemeClr val="bg2">
              <a:lumMod val="75000"/>
              <a:alpha val="10000"/>
            </a:schemeClr>
          </a:solidFill>
          <a:ln w="3810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600" dirty="0" err="1" smtClean="0">
              <a:solidFill>
                <a:schemeClr val="tx1"/>
              </a:solidFill>
            </a:endParaRPr>
          </a:p>
        </p:txBody>
      </p:sp>
      <p:sp>
        <p:nvSpPr>
          <p:cNvPr id="8" name="Rectangle 7"/>
          <p:cNvSpPr/>
          <p:nvPr/>
        </p:nvSpPr>
        <p:spPr>
          <a:xfrm>
            <a:off x="1400961" y="3028426"/>
            <a:ext cx="9479560" cy="1040442"/>
          </a:xfrm>
          <a:prstGeom prst="rect">
            <a:avLst/>
          </a:prstGeom>
          <a:solidFill>
            <a:schemeClr val="accent1">
              <a:alpha val="1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endParaRPr lang="en-US" sz="1600" dirty="0" err="1" smtClean="0">
              <a:solidFill>
                <a:schemeClr val="tx1"/>
              </a:solidFill>
            </a:endParaRPr>
          </a:p>
        </p:txBody>
      </p:sp>
    </p:spTree>
    <p:extLst>
      <p:ext uri="{BB962C8B-B14F-4D97-AF65-F5344CB8AC3E}">
        <p14:creationId xmlns:p14="http://schemas.microsoft.com/office/powerpoint/2010/main" val="15428637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933264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smtClean="0"/>
              <a:t>Dilute nitrogen dioxide</a:t>
            </a:r>
            <a:br>
              <a:rPr lang="en-US" dirty="0" smtClean="0"/>
            </a:br>
            <a:r>
              <a:rPr lang="en-US" b="0" dirty="0" smtClean="0"/>
              <a:t>Next steps</a:t>
            </a:r>
            <a:endParaRPr lang="en-US" dirty="0"/>
          </a:p>
        </p:txBody>
      </p:sp>
      <p:sp>
        <p:nvSpPr>
          <p:cNvPr id="3" name="Content Placeholder 2"/>
          <p:cNvSpPr>
            <a:spLocks noGrp="1"/>
          </p:cNvSpPr>
          <p:nvPr>
            <p:ph idx="1"/>
          </p:nvPr>
        </p:nvSpPr>
        <p:spPr/>
        <p:txBody>
          <a:bodyPr/>
          <a:lstStyle/>
          <a:p>
            <a:pPr marL="0" indent="0">
              <a:buNone/>
            </a:pPr>
            <a:r>
              <a:rPr lang="en-US" dirty="0" smtClean="0"/>
              <a:t>Path </a:t>
            </a:r>
            <a:r>
              <a:rPr lang="en-US" dirty="0"/>
              <a:t>forward to implement dilute NO2 as an alternative to pure NO2 is the following:</a:t>
            </a:r>
          </a:p>
          <a:p>
            <a:pPr marL="702900" lvl="2" indent="-342900">
              <a:buFont typeface="+mj-lt"/>
              <a:buAutoNum type="arabicParenR"/>
            </a:pPr>
            <a:r>
              <a:rPr lang="en-US" b="1" dirty="0" smtClean="0"/>
              <a:t>Demonstrate </a:t>
            </a:r>
            <a:r>
              <a:rPr lang="en-US" b="1" dirty="0"/>
              <a:t>equivalence to the </a:t>
            </a:r>
            <a:r>
              <a:rPr lang="en-US" b="1" dirty="0" smtClean="0"/>
              <a:t>SP </a:t>
            </a:r>
            <a:r>
              <a:rPr lang="en-US" dirty="0" smtClean="0">
                <a:solidFill>
                  <a:srgbClr val="FF0000"/>
                </a:solidFill>
                <a:sym typeface="Wingdings" panose="05000000000000000000" pitchFamily="2" charset="2"/>
              </a:rPr>
              <a:t> Based on the available data, SP feels confident that dilute NO2 and concentrated NO2 yield comparable results?</a:t>
            </a:r>
            <a:endParaRPr lang="en-US" dirty="0"/>
          </a:p>
          <a:p>
            <a:pPr marL="702900" lvl="2" indent="-342900">
              <a:buFont typeface="+mj-lt"/>
              <a:buAutoNum type="arabicParenR"/>
            </a:pPr>
            <a:r>
              <a:rPr lang="en-US" dirty="0" smtClean="0"/>
              <a:t>Develop </a:t>
            </a:r>
            <a:r>
              <a:rPr lang="en-US" dirty="0"/>
              <a:t>a procedure for dilute </a:t>
            </a:r>
            <a:r>
              <a:rPr lang="en-US" dirty="0" smtClean="0"/>
              <a:t>NO2 </a:t>
            </a:r>
            <a:r>
              <a:rPr lang="en-US" dirty="0" smtClean="0">
                <a:solidFill>
                  <a:srgbClr val="FF0000"/>
                </a:solidFill>
                <a:sym typeface="Wingdings" panose="05000000000000000000" pitchFamily="2" charset="2"/>
              </a:rPr>
              <a:t> Due to difficulty drafting an alternative procedure, an ASTM facilitator has been requested to provide support.</a:t>
            </a:r>
            <a:endParaRPr lang="en-US" dirty="0" smtClean="0">
              <a:sym typeface="Wingdings" panose="05000000000000000000" pitchFamily="2" charset="2"/>
            </a:endParaRPr>
          </a:p>
          <a:p>
            <a:pPr marL="702900" lvl="2" indent="-342900">
              <a:buFont typeface="+mj-lt"/>
              <a:buAutoNum type="arabicParenR"/>
            </a:pPr>
            <a:r>
              <a:rPr lang="en-US" dirty="0" smtClean="0">
                <a:sym typeface="Wingdings" panose="05000000000000000000" pitchFamily="2" charset="2"/>
              </a:rPr>
              <a:t> </a:t>
            </a:r>
            <a:r>
              <a:rPr lang="en-US" dirty="0" smtClean="0"/>
              <a:t>Approve </a:t>
            </a:r>
            <a:r>
              <a:rPr lang="en-US" dirty="0"/>
              <a:t>by SP </a:t>
            </a:r>
            <a:r>
              <a:rPr lang="en-US" dirty="0" smtClean="0">
                <a:solidFill>
                  <a:srgbClr val="FF0000"/>
                </a:solidFill>
                <a:sym typeface="Wingdings" panose="05000000000000000000" pitchFamily="2" charset="2"/>
              </a:rPr>
              <a:t></a:t>
            </a:r>
            <a:r>
              <a:rPr lang="en-US" dirty="0" smtClean="0">
                <a:solidFill>
                  <a:srgbClr val="FF0000"/>
                </a:solidFill>
              </a:rPr>
              <a:t> Seek approval after procedure is written.</a:t>
            </a:r>
            <a:endParaRPr lang="en-US" dirty="0">
              <a:solidFill>
                <a:srgbClr val="FF0000"/>
              </a:solidFill>
            </a:endParaRPr>
          </a:p>
          <a:p>
            <a:pPr marL="702900" lvl="2" indent="-342900">
              <a:buFont typeface="+mj-lt"/>
              <a:buAutoNum type="arabicParenR"/>
            </a:pPr>
            <a:r>
              <a:rPr lang="en-US" dirty="0" smtClean="0"/>
              <a:t>Issue </a:t>
            </a:r>
            <a:r>
              <a:rPr lang="en-US" dirty="0"/>
              <a:t>information letter allowing use of dilute NO2 as an alternative</a:t>
            </a:r>
          </a:p>
          <a:p>
            <a:pPr marL="702900" lvl="2" indent="-342900">
              <a:buFont typeface="+mj-lt"/>
              <a:buAutoNum type="arabicParenR"/>
            </a:pPr>
            <a:r>
              <a:rPr lang="en-US" dirty="0" smtClean="0"/>
              <a:t>Ballot </a:t>
            </a:r>
            <a:r>
              <a:rPr lang="en-US" dirty="0"/>
              <a:t>the recommended changes at ASTM</a:t>
            </a:r>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
        <p:nvSpPr>
          <p:cNvPr id="7" name="Rectangle 1"/>
          <p:cNvSpPr>
            <a:spLocks noChangeArrowheads="1"/>
          </p:cNvSpPr>
          <p:nvPr/>
        </p:nvSpPr>
        <p:spPr bwMode="auto">
          <a:xfrm>
            <a:off x="442913" y="1770293"/>
            <a:ext cx="365760"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en-US" sz="2400" b="0" i="0" u="none" strike="noStrike" cap="none" normalizeH="0" baseline="0" dirty="0" smtClean="0">
                <a:ln>
                  <a:noFill/>
                </a:ln>
                <a:effectLst/>
                <a:latin typeface="MS Gothic" panose="020B0609070205080204" pitchFamily="49" charset="-128"/>
                <a:ea typeface="MS Gothic" panose="020B0609070205080204" pitchFamily="49" charset="-128"/>
                <a:cs typeface="Arial" panose="020B0604020202020204" pitchFamily="34" charset="0"/>
              </a:rPr>
              <a:t>☒</a:t>
            </a:r>
            <a:endParaRPr kumimoji="0" lang="en-GB" altLang="en-US" sz="4000" b="0" i="0" u="none" strike="noStrike" cap="none" normalizeH="0" baseline="0" dirty="0" smtClean="0">
              <a:ln>
                <a:noFill/>
              </a:ln>
              <a:effectLst/>
              <a:latin typeface="Arial" panose="020B0604020202020204" pitchFamily="34" charset="0"/>
            </a:endParaRPr>
          </a:p>
        </p:txBody>
      </p:sp>
      <p:sp>
        <p:nvSpPr>
          <p:cNvPr id="8" name="Rectangle 1"/>
          <p:cNvSpPr>
            <a:spLocks noChangeArrowheads="1"/>
          </p:cNvSpPr>
          <p:nvPr/>
        </p:nvSpPr>
        <p:spPr bwMode="auto">
          <a:xfrm>
            <a:off x="442913" y="2399818"/>
            <a:ext cx="3657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0" i="0" u="none" strike="noStrike" cap="none" normalizeH="0" baseline="0" dirty="0" smtClean="0">
                <a:ln>
                  <a:noFill/>
                </a:ln>
                <a:effectLst/>
                <a:latin typeface="Arial" panose="020B0604020202020204" pitchFamily="34" charset="0"/>
                <a:ea typeface="MS Gothic" panose="020B0609070205080204" pitchFamily="49" charset="-128"/>
                <a:cs typeface="Segoe UI Symbol" panose="020B0502040204020203" pitchFamily="34" charset="0"/>
              </a:rPr>
              <a:t>☐</a:t>
            </a:r>
            <a:endParaRPr kumimoji="0" lang="en-GB" altLang="en-US" sz="4000" b="0" i="0" u="none" strike="noStrike" cap="none" normalizeH="0" baseline="0" dirty="0" smtClean="0">
              <a:ln>
                <a:noFill/>
              </a:ln>
              <a:effectLst/>
              <a:latin typeface="Arial" panose="020B0604020202020204" pitchFamily="34" charset="0"/>
            </a:endParaRPr>
          </a:p>
        </p:txBody>
      </p:sp>
      <p:sp>
        <p:nvSpPr>
          <p:cNvPr id="9" name="Rectangle 1"/>
          <p:cNvSpPr>
            <a:spLocks noChangeArrowheads="1"/>
          </p:cNvSpPr>
          <p:nvPr/>
        </p:nvSpPr>
        <p:spPr bwMode="auto">
          <a:xfrm>
            <a:off x="442913" y="2999982"/>
            <a:ext cx="3657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0" i="0" u="none" strike="noStrike" cap="none" normalizeH="0" baseline="0" dirty="0" smtClean="0">
                <a:ln>
                  <a:noFill/>
                </a:ln>
                <a:effectLst/>
                <a:latin typeface="Arial" panose="020B0604020202020204" pitchFamily="34" charset="0"/>
                <a:ea typeface="MS Gothic" panose="020B0609070205080204" pitchFamily="49" charset="-128"/>
                <a:cs typeface="Segoe UI Symbol" panose="020B0502040204020203" pitchFamily="34" charset="0"/>
              </a:rPr>
              <a:t>☐</a:t>
            </a:r>
            <a:endParaRPr kumimoji="0" lang="en-GB" altLang="en-US" sz="4000" b="0" i="0" u="none" strike="noStrike" cap="none" normalizeH="0" baseline="0" dirty="0" smtClean="0">
              <a:ln>
                <a:noFill/>
              </a:ln>
              <a:effectLst/>
              <a:latin typeface="Arial" panose="020B0604020202020204" pitchFamily="34" charset="0"/>
            </a:endParaRPr>
          </a:p>
        </p:txBody>
      </p:sp>
      <p:sp>
        <p:nvSpPr>
          <p:cNvPr id="10" name="Rectangle 1"/>
          <p:cNvSpPr>
            <a:spLocks noChangeArrowheads="1"/>
          </p:cNvSpPr>
          <p:nvPr/>
        </p:nvSpPr>
        <p:spPr bwMode="auto">
          <a:xfrm>
            <a:off x="442913" y="3422459"/>
            <a:ext cx="3657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0" i="0" u="none" strike="noStrike" cap="none" normalizeH="0" baseline="0" dirty="0" smtClean="0">
                <a:ln>
                  <a:noFill/>
                </a:ln>
                <a:effectLst/>
                <a:latin typeface="Arial" panose="020B0604020202020204" pitchFamily="34" charset="0"/>
                <a:ea typeface="MS Gothic" panose="020B0609070205080204" pitchFamily="49" charset="-128"/>
                <a:cs typeface="Segoe UI Symbol" panose="020B0502040204020203" pitchFamily="34" charset="0"/>
              </a:rPr>
              <a:t>☐</a:t>
            </a:r>
            <a:endParaRPr kumimoji="0" lang="en-GB" altLang="en-US" sz="4000" b="0" i="0" u="none" strike="noStrike" cap="none" normalizeH="0" baseline="0" dirty="0" smtClean="0">
              <a:ln>
                <a:noFill/>
              </a:ln>
              <a:effectLst/>
              <a:latin typeface="Arial" panose="020B0604020202020204" pitchFamily="34" charset="0"/>
            </a:endParaRPr>
          </a:p>
        </p:txBody>
      </p:sp>
      <p:sp>
        <p:nvSpPr>
          <p:cNvPr id="11" name="Rectangle 1"/>
          <p:cNvSpPr>
            <a:spLocks noChangeArrowheads="1"/>
          </p:cNvSpPr>
          <p:nvPr/>
        </p:nvSpPr>
        <p:spPr bwMode="auto">
          <a:xfrm>
            <a:off x="442913" y="3819693"/>
            <a:ext cx="3657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0" i="0" u="none" strike="noStrike" cap="none" normalizeH="0" baseline="0" dirty="0" smtClean="0">
                <a:ln>
                  <a:noFill/>
                </a:ln>
                <a:effectLst/>
                <a:latin typeface="Arial" panose="020B0604020202020204" pitchFamily="34" charset="0"/>
                <a:ea typeface="MS Gothic" panose="020B0609070205080204" pitchFamily="49" charset="-128"/>
                <a:cs typeface="Segoe UI Symbol" panose="020B0502040204020203" pitchFamily="34" charset="0"/>
              </a:rPr>
              <a:t>☐</a:t>
            </a:r>
            <a:endParaRPr kumimoji="0" lang="en-GB" altLang="en-US" sz="4000" b="0" i="0" u="none" strike="noStrike" cap="none" normalizeH="0" baseline="0" dirty="0" smtClean="0">
              <a:ln>
                <a:noFill/>
              </a:ln>
              <a:effectLst/>
              <a:latin typeface="Arial" panose="020B0604020202020204" pitchFamily="34" charset="0"/>
            </a:endParaRPr>
          </a:p>
        </p:txBody>
      </p:sp>
    </p:spTree>
    <p:extLst>
      <p:ext uri="{BB962C8B-B14F-4D97-AF65-F5344CB8AC3E}">
        <p14:creationId xmlns:p14="http://schemas.microsoft.com/office/powerpoint/2010/main" val="7807216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68504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smtClean="0"/>
              <a:t>Method housekeeping</a:t>
            </a:r>
            <a:endParaRPr lang="en-US" dirty="0"/>
          </a:p>
        </p:txBody>
      </p:sp>
      <p:sp>
        <p:nvSpPr>
          <p:cNvPr id="3" name="Content Placeholder 2"/>
          <p:cNvSpPr>
            <a:spLocks noGrp="1"/>
          </p:cNvSpPr>
          <p:nvPr>
            <p:ph idx="1"/>
          </p:nvPr>
        </p:nvSpPr>
        <p:spPr>
          <a:xfrm>
            <a:off x="442913" y="1371600"/>
            <a:ext cx="11304000" cy="4316798"/>
          </a:xfrm>
        </p:spPr>
        <p:txBody>
          <a:bodyPr/>
          <a:lstStyle/>
          <a:p>
            <a:r>
              <a:rPr lang="en-US" dirty="0"/>
              <a:t>9. New and Existing Test Stand </a:t>
            </a:r>
            <a:r>
              <a:rPr lang="en-US" dirty="0" smtClean="0"/>
              <a:t>Calibration needs to be updated.</a:t>
            </a:r>
          </a:p>
          <a:p>
            <a:pPr lvl="1"/>
            <a:r>
              <a:rPr lang="en-US" dirty="0" smtClean="0"/>
              <a:t>ROBO no longer has stand-alone calibration requirements and is now included in LTMS. As such, the reference in the method is no longer valid</a:t>
            </a:r>
          </a:p>
          <a:p>
            <a:pPr lvl="1"/>
            <a:r>
              <a:rPr lang="en-US" dirty="0" smtClean="0"/>
              <a:t> </a:t>
            </a:r>
          </a:p>
          <a:p>
            <a:pPr lvl="1"/>
            <a:endParaRPr lang="en-US" dirty="0" smtClean="0"/>
          </a:p>
          <a:p>
            <a:pPr lvl="1"/>
            <a:r>
              <a:rPr lang="en-US" dirty="0" smtClean="0"/>
              <a:t>Suggest we also update Section 9 calibration requirements and reference the LTMS for calibration requirements.</a:t>
            </a: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pic>
        <p:nvPicPr>
          <p:cNvPr id="7" name="Picture 6"/>
          <p:cNvPicPr>
            <a:picLocks noChangeAspect="1"/>
          </p:cNvPicPr>
          <p:nvPr/>
        </p:nvPicPr>
        <p:blipFill>
          <a:blip r:embed="rId7"/>
          <a:stretch>
            <a:fillRect/>
          </a:stretch>
        </p:blipFill>
        <p:spPr>
          <a:xfrm>
            <a:off x="6282421" y="3733800"/>
            <a:ext cx="5466667" cy="1704762"/>
          </a:xfrm>
          <a:prstGeom prst="rect">
            <a:avLst/>
          </a:prstGeom>
        </p:spPr>
      </p:pic>
      <p:pic>
        <p:nvPicPr>
          <p:cNvPr id="8" name="Picture 7"/>
          <p:cNvPicPr>
            <a:picLocks noChangeAspect="1"/>
          </p:cNvPicPr>
          <p:nvPr/>
        </p:nvPicPr>
        <p:blipFill>
          <a:blip r:embed="rId8"/>
          <a:stretch>
            <a:fillRect/>
          </a:stretch>
        </p:blipFill>
        <p:spPr>
          <a:xfrm>
            <a:off x="936029" y="2554770"/>
            <a:ext cx="4733333" cy="771429"/>
          </a:xfrm>
          <a:prstGeom prst="rect">
            <a:avLst/>
          </a:prstGeom>
        </p:spPr>
      </p:pic>
      <p:sp>
        <p:nvSpPr>
          <p:cNvPr id="9" name="Content Placeholder 2"/>
          <p:cNvSpPr txBox="1">
            <a:spLocks/>
          </p:cNvSpPr>
          <p:nvPr/>
        </p:nvSpPr>
        <p:spPr>
          <a:xfrm>
            <a:off x="445088" y="5688398"/>
            <a:ext cx="11304000" cy="407601"/>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1200"/>
              </a:spcBef>
              <a:buFont typeface="Wingdings" panose="05000000000000000000" pitchFamily="2" charset="2"/>
              <a:buChar char="§"/>
              <a:defRPr sz="2000" kern="1200">
                <a:solidFill>
                  <a:schemeClr val="tx1"/>
                </a:solidFill>
                <a:latin typeface="Calibri" panose="020F0502020204030204" pitchFamily="34" charset="0"/>
                <a:ea typeface="+mn-ea"/>
                <a:cs typeface="+mn-cs"/>
              </a:defRPr>
            </a:lvl1pPr>
            <a:lvl2pPr marL="360000" indent="-180000" algn="l" defTabSz="914400" rtl="0" eaLnBrk="1" latinLnBrk="0" hangingPunct="1">
              <a:lnSpc>
                <a:spcPct val="100000"/>
              </a:lnSpc>
              <a:spcBef>
                <a:spcPts val="1200"/>
              </a:spcBef>
              <a:buFont typeface="Symbol" panose="05050102010706020507" pitchFamily="18" charset="2"/>
              <a:buChar char="-"/>
              <a:defRPr sz="1800" kern="1200">
                <a:solidFill>
                  <a:schemeClr val="tx1"/>
                </a:solidFill>
                <a:latin typeface="Calibri" panose="020F0502020204030204" pitchFamily="34" charset="0"/>
                <a:ea typeface="+mn-ea"/>
                <a:cs typeface="+mn-cs"/>
              </a:defRPr>
            </a:lvl2pPr>
            <a:lvl3pPr marL="54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3pPr>
            <a:lvl4pPr marL="72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4pPr>
            <a:lvl5pPr marL="90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5pPr>
            <a:lvl6pPr marL="108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6pPr>
            <a:lvl7pPr marL="126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7pPr>
            <a:lvl8pPr marL="1438275"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8pPr>
            <a:lvl9pPr marL="161925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9pPr>
          </a:lstStyle>
          <a:p>
            <a:pPr marL="0" indent="0" algn="ctr">
              <a:buNone/>
            </a:pPr>
            <a:r>
              <a:rPr lang="en-US" b="1" dirty="0" smtClean="0">
                <a:solidFill>
                  <a:srgbClr val="FF0000"/>
                </a:solidFill>
              </a:rPr>
              <a:t>Any other changes? </a:t>
            </a:r>
          </a:p>
        </p:txBody>
      </p:sp>
    </p:spTree>
    <p:extLst>
      <p:ext uri="{BB962C8B-B14F-4D97-AF65-F5344CB8AC3E}">
        <p14:creationId xmlns:p14="http://schemas.microsoft.com/office/powerpoint/2010/main" val="231762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7244245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t>Method </a:t>
            </a:r>
            <a:r>
              <a:rPr lang="en-US" dirty="0" smtClean="0"/>
              <a:t>housekeeping</a:t>
            </a:r>
            <a:br>
              <a:rPr lang="en-US" dirty="0" smtClean="0"/>
            </a:br>
            <a:r>
              <a:rPr lang="en-US" b="0" dirty="0" smtClean="0"/>
              <a:t>Feedback from </a:t>
            </a:r>
            <a:r>
              <a:rPr lang="en-US" b="0" dirty="0"/>
              <a:t>Mike Faile and Aimee Shinhearl</a:t>
            </a:r>
          </a:p>
        </p:txBody>
      </p:sp>
      <p:sp>
        <p:nvSpPr>
          <p:cNvPr id="3" name="Content Placeholder 2"/>
          <p:cNvSpPr>
            <a:spLocks noGrp="1"/>
          </p:cNvSpPr>
          <p:nvPr>
            <p:ph idx="1"/>
          </p:nvPr>
        </p:nvSpPr>
        <p:spPr/>
        <p:txBody>
          <a:bodyPr/>
          <a:lstStyle/>
          <a:p>
            <a:pPr marL="0" indent="0">
              <a:buNone/>
            </a:pPr>
            <a:r>
              <a:rPr lang="en-US" dirty="0" smtClean="0"/>
              <a:t>“For </a:t>
            </a:r>
            <a:r>
              <a:rPr lang="en-US" dirty="0"/>
              <a:t>method housekeeping, we do have a proposed change regarding the acrylic block air flow meter readings.  We would like to have the level in 10.3.2.1 changed to 1.0 SCFM.  We realize that 0.6 is ideal, but this is difficult to always achieve.  Even with the Edwards pump trials that we ran in the past and now are currently trialing again, we have not always achieved the 0.6 level but did achieve passing results on some of those runs</a:t>
            </a:r>
            <a:r>
              <a:rPr lang="en-US" dirty="0" smtClean="0"/>
              <a:t>.”</a:t>
            </a:r>
          </a:p>
          <a:p>
            <a:pPr marL="0" indent="0">
              <a:buNone/>
            </a:pPr>
            <a:endParaRPr lang="en-US" dirty="0"/>
          </a:p>
          <a:p>
            <a:pPr marL="0" indent="0">
              <a:buNone/>
            </a:pP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pic>
        <p:nvPicPr>
          <p:cNvPr id="7" name="Picture 6"/>
          <p:cNvPicPr>
            <a:picLocks noChangeAspect="1"/>
          </p:cNvPicPr>
          <p:nvPr/>
        </p:nvPicPr>
        <p:blipFill>
          <a:blip r:embed="rId7"/>
          <a:stretch>
            <a:fillRect/>
          </a:stretch>
        </p:blipFill>
        <p:spPr>
          <a:xfrm>
            <a:off x="2302176" y="3681413"/>
            <a:ext cx="6942857" cy="1914286"/>
          </a:xfrm>
          <a:prstGeom prst="rect">
            <a:avLst/>
          </a:prstGeom>
        </p:spPr>
      </p:pic>
    </p:spTree>
    <p:extLst>
      <p:ext uri="{BB962C8B-B14F-4D97-AF65-F5344CB8AC3E}">
        <p14:creationId xmlns:p14="http://schemas.microsoft.com/office/powerpoint/2010/main" val="3791669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
        <p:nvSpPr>
          <p:cNvPr id="5" name="Title 4"/>
          <p:cNvSpPr>
            <a:spLocks noGrp="1"/>
          </p:cNvSpPr>
          <p:nvPr>
            <p:ph type="title"/>
          </p:nvPr>
        </p:nvSpPr>
        <p:spPr/>
        <p:txBody>
          <a:bodyPr/>
          <a:lstStyle/>
          <a:p>
            <a:r>
              <a:rPr lang="en-US" dirty="0" smtClean="0"/>
              <a:t>Any Additional Topics?</a:t>
            </a:r>
            <a:endParaRPr lang="en-US" dirty="0"/>
          </a:p>
        </p:txBody>
      </p:sp>
    </p:spTree>
    <p:extLst>
      <p:ext uri="{BB962C8B-B14F-4D97-AF65-F5344CB8AC3E}">
        <p14:creationId xmlns:p14="http://schemas.microsoft.com/office/powerpoint/2010/main" val="1480002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983792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4" name="Title 3"/>
          <p:cNvSpPr>
            <a:spLocks noGrp="1"/>
          </p:cNvSpPr>
          <p:nvPr>
            <p:ph type="title"/>
          </p:nvPr>
        </p:nvSpPr>
        <p:spPr/>
        <p:txBody>
          <a:bodyPr/>
          <a:lstStyle/>
          <a:p>
            <a:r>
              <a:rPr lang="en-US" dirty="0" smtClean="0"/>
              <a:t>Additional topics from Mike </a:t>
            </a:r>
            <a:r>
              <a:rPr lang="en-US" dirty="0"/>
              <a:t>Faile and Aimee Shinhearl</a:t>
            </a:r>
            <a:endParaRPr lang="en-US" dirty="0"/>
          </a:p>
        </p:txBody>
      </p:sp>
      <p:sp>
        <p:nvSpPr>
          <p:cNvPr id="5" name="Content Placeholder 4"/>
          <p:cNvSpPr>
            <a:spLocks noGrp="1"/>
          </p:cNvSpPr>
          <p:nvPr>
            <p:ph idx="1"/>
          </p:nvPr>
        </p:nvSpPr>
        <p:spPr/>
        <p:txBody>
          <a:bodyPr/>
          <a:lstStyle/>
          <a:p>
            <a:r>
              <a:rPr lang="en-US" dirty="0"/>
              <a:t>The NO2 vial – with the increments being 0.1 mL and the goal to dose at 0.167 per hour, it makes it difficult.  We were wondering if anyone ever investigated a different vial that had smaller increments to better help track the flow with pure NO2.</a:t>
            </a:r>
          </a:p>
          <a:p>
            <a:endParaRPr lang="en-US" dirty="0" smtClean="0"/>
          </a:p>
          <a:p>
            <a:r>
              <a:rPr lang="en-US" dirty="0" smtClean="0"/>
              <a:t>For </a:t>
            </a:r>
            <a:r>
              <a:rPr lang="en-US" dirty="0"/>
              <a:t>historical understanding, why was it decided to start the NO2 flow right away rather than waiting for the reactor to reach the 170 °C test temperature?  Would results be more severe if it was introduced after test temperature was reached?</a:t>
            </a:r>
          </a:p>
          <a:p>
            <a:endParaRPr lang="en-US" dirty="0"/>
          </a:p>
        </p:txBody>
      </p:sp>
      <p:sp>
        <p:nvSpPr>
          <p:cNvPr id="2" name="Footer Placeholder 1"/>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Tree>
    <p:extLst>
      <p:ext uri="{BB962C8B-B14F-4D97-AF65-F5344CB8AC3E}">
        <p14:creationId xmlns:p14="http://schemas.microsoft.com/office/powerpoint/2010/main" val="3580603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xt Meeting</a:t>
            </a:r>
            <a:endParaRPr lang="en-US" dirty="0"/>
          </a:p>
        </p:txBody>
      </p:sp>
      <p:sp>
        <p:nvSpPr>
          <p:cNvPr id="3" name="Content Placeholder 2"/>
          <p:cNvSpPr>
            <a:spLocks noGrp="1"/>
          </p:cNvSpPr>
          <p:nvPr>
            <p:ph idx="1"/>
          </p:nvPr>
        </p:nvSpPr>
        <p:spPr/>
        <p:txBody>
          <a:bodyPr/>
          <a:lstStyle/>
          <a:p>
            <a:r>
              <a:rPr lang="en-US" dirty="0" smtClean="0"/>
              <a:t>Suggestions for next SP meeting?</a:t>
            </a:r>
            <a:endParaRPr lang="en-US" b="1" dirty="0" smtClean="0"/>
          </a:p>
          <a:p>
            <a:pPr lvl="1"/>
            <a:r>
              <a:rPr lang="en-US" b="1" dirty="0" smtClean="0"/>
              <a:t>Thursday, September 26</a:t>
            </a:r>
            <a:r>
              <a:rPr lang="en-US" b="1" baseline="30000" dirty="0" smtClean="0"/>
              <a:t>th</a:t>
            </a:r>
            <a:r>
              <a:rPr lang="en-US" b="1" dirty="0" smtClean="0"/>
              <a:t>?</a:t>
            </a:r>
          </a:p>
          <a:p>
            <a:pPr lvl="1"/>
            <a:r>
              <a:rPr lang="en-US" b="1" dirty="0" smtClean="0"/>
              <a:t>Thursday, October 3</a:t>
            </a:r>
            <a:r>
              <a:rPr lang="en-US" b="1" baseline="30000" dirty="0" smtClean="0"/>
              <a:t>rd</a:t>
            </a:r>
            <a:r>
              <a:rPr lang="en-US" b="1" dirty="0" smtClean="0"/>
              <a:t>? </a:t>
            </a:r>
          </a:p>
          <a:p>
            <a:pPr lvl="1"/>
            <a:endParaRPr lang="en-US" b="1" dirty="0"/>
          </a:p>
          <a:p>
            <a:pPr marL="180000" lvl="1" indent="0" algn="ctr">
              <a:buNone/>
            </a:pPr>
            <a:endParaRPr lang="en-US" b="1" dirty="0">
              <a:sym typeface="Wingdings" panose="05000000000000000000" pitchFamily="2" charset="2"/>
            </a:endParaRPr>
          </a:p>
          <a:p>
            <a:pPr marL="180000" lvl="1" indent="0" algn="ctr">
              <a:buNone/>
            </a:pPr>
            <a:endParaRPr lang="en-US" b="1" dirty="0" smtClean="0">
              <a:sym typeface="Wingdings" panose="05000000000000000000" pitchFamily="2" charset="2"/>
            </a:endParaRPr>
          </a:p>
          <a:p>
            <a:pPr marL="180000" lvl="1" indent="0" algn="ctr">
              <a:buNone/>
            </a:pPr>
            <a:endParaRPr lang="en-US" b="1" dirty="0">
              <a:sym typeface="Wingdings" panose="05000000000000000000" pitchFamily="2" charset="2"/>
            </a:endParaRPr>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Tree>
    <p:extLst>
      <p:ext uri="{BB962C8B-B14F-4D97-AF65-F5344CB8AC3E}">
        <p14:creationId xmlns:p14="http://schemas.microsoft.com/office/powerpoint/2010/main" val="2985039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639759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Rectangle 17"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smtClean="0">
              <a:solidFill>
                <a:schemeClr val="tx1"/>
              </a:solidFill>
              <a:latin typeface="Calibri" panose="020F0502020204030204" pitchFamily="34" charset="0"/>
              <a:ea typeface="+mj-ea"/>
              <a:cs typeface="+mj-cs"/>
              <a:sym typeface="Calibri" panose="020F0502020204030204" pitchFamily="34" charset="0"/>
            </a:endParaRPr>
          </a:p>
        </p:txBody>
      </p:sp>
      <p:graphicFrame>
        <p:nvGraphicFramePr>
          <p:cNvPr id="22" name="Chart 21"/>
          <p:cNvGraphicFramePr>
            <a:graphicFrameLocks/>
          </p:cNvGraphicFramePr>
          <p:nvPr>
            <p:extLst>
              <p:ext uri="{D42A27DB-BD31-4B8C-83A1-F6EECF244321}">
                <p14:modId xmlns:p14="http://schemas.microsoft.com/office/powerpoint/2010/main" val="211767033"/>
              </p:ext>
            </p:extLst>
          </p:nvPr>
        </p:nvGraphicFramePr>
        <p:xfrm>
          <a:off x="4267200" y="1942240"/>
          <a:ext cx="3657600" cy="32105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7" name="Chart 16"/>
          <p:cNvGraphicFramePr>
            <a:graphicFrameLocks/>
          </p:cNvGraphicFramePr>
          <p:nvPr>
            <p:extLst>
              <p:ext uri="{D42A27DB-BD31-4B8C-83A1-F6EECF244321}">
                <p14:modId xmlns:p14="http://schemas.microsoft.com/office/powerpoint/2010/main" val="2454849019"/>
              </p:ext>
            </p:extLst>
          </p:nvPr>
        </p:nvGraphicFramePr>
        <p:xfrm>
          <a:off x="8089313" y="1942242"/>
          <a:ext cx="3657600" cy="3210581"/>
        </p:xfrm>
        <a:graphic>
          <a:graphicData uri="http://schemas.openxmlformats.org/drawingml/2006/chart">
            <c:chart xmlns:c="http://schemas.openxmlformats.org/drawingml/2006/chart" xmlns:r="http://schemas.openxmlformats.org/officeDocument/2006/relationships" r:id="rId8"/>
          </a:graphicData>
        </a:graphic>
      </p:graphicFrame>
      <p:sp>
        <p:nvSpPr>
          <p:cNvPr id="2" name="Title 1"/>
          <p:cNvSpPr>
            <a:spLocks noGrp="1"/>
          </p:cNvSpPr>
          <p:nvPr>
            <p:ph type="title"/>
          </p:nvPr>
        </p:nvSpPr>
        <p:spPr/>
        <p:txBody>
          <a:bodyPr/>
          <a:lstStyle/>
          <a:p>
            <a:r>
              <a:rPr lang="en-US" dirty="0" smtClean="0"/>
              <a:t>Dilute nitrogen dioxide</a:t>
            </a:r>
            <a:br>
              <a:rPr lang="en-US" dirty="0" smtClean="0"/>
            </a:br>
            <a:r>
              <a:rPr lang="en-US" b="0" dirty="0" smtClean="0"/>
              <a:t>Comparison between concentrated and dilute</a:t>
            </a: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
        <p:nvSpPr>
          <p:cNvPr id="5" name="Rectangle 4"/>
          <p:cNvSpPr/>
          <p:nvPr/>
        </p:nvSpPr>
        <p:spPr>
          <a:xfrm>
            <a:off x="442913" y="1371600"/>
            <a:ext cx="3657600" cy="44873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600" b="1" dirty="0" smtClean="0">
                <a:solidFill>
                  <a:schemeClr val="tx1"/>
                </a:solidFill>
              </a:rPr>
              <a:t>TMC 435-1</a:t>
            </a:r>
          </a:p>
        </p:txBody>
      </p:sp>
      <p:sp>
        <p:nvSpPr>
          <p:cNvPr id="6" name="Rectangle 5"/>
          <p:cNvSpPr/>
          <p:nvPr/>
        </p:nvSpPr>
        <p:spPr>
          <a:xfrm>
            <a:off x="4266113" y="1371600"/>
            <a:ext cx="3657600" cy="44873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600" b="1" dirty="0" smtClean="0">
                <a:solidFill>
                  <a:schemeClr val="tx1"/>
                </a:solidFill>
              </a:rPr>
              <a:t>TMC 434-2</a:t>
            </a:r>
          </a:p>
        </p:txBody>
      </p:sp>
      <p:sp>
        <p:nvSpPr>
          <p:cNvPr id="7" name="Rectangle 6"/>
          <p:cNvSpPr/>
          <p:nvPr/>
        </p:nvSpPr>
        <p:spPr>
          <a:xfrm>
            <a:off x="8089313" y="1371600"/>
            <a:ext cx="3657600" cy="448733"/>
          </a:xfrm>
          <a:prstGeom prst="rect">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600" b="1" dirty="0" smtClean="0">
                <a:solidFill>
                  <a:schemeClr val="tx1"/>
                </a:solidFill>
              </a:rPr>
              <a:t>TMC 438</a:t>
            </a:r>
          </a:p>
        </p:txBody>
      </p:sp>
      <p:sp>
        <p:nvSpPr>
          <p:cNvPr id="11" name="Rectangle 10"/>
          <p:cNvSpPr/>
          <p:nvPr/>
        </p:nvSpPr>
        <p:spPr>
          <a:xfrm>
            <a:off x="11275563" y="2474178"/>
            <a:ext cx="471350" cy="25690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dirty="0" smtClean="0">
                <a:solidFill>
                  <a:schemeClr val="bg1"/>
                </a:solidFill>
              </a:rPr>
              <a:t>OG</a:t>
            </a:r>
          </a:p>
        </p:txBody>
      </p:sp>
      <p:sp>
        <p:nvSpPr>
          <p:cNvPr id="12" name="Rectangle 11"/>
          <p:cNvSpPr/>
          <p:nvPr/>
        </p:nvSpPr>
        <p:spPr>
          <a:xfrm>
            <a:off x="7452363" y="2175277"/>
            <a:ext cx="471350" cy="256903"/>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Aft>
                <a:spcPts val="600"/>
              </a:spcAft>
            </a:pPr>
            <a:r>
              <a:rPr lang="en-US" sz="1200" b="1" dirty="0" smtClean="0">
                <a:solidFill>
                  <a:schemeClr val="bg1"/>
                </a:solidFill>
              </a:rPr>
              <a:t>OG</a:t>
            </a:r>
          </a:p>
        </p:txBody>
      </p:sp>
      <p:cxnSp>
        <p:nvCxnSpPr>
          <p:cNvPr id="14" name="Straight Arrow Connector 13"/>
          <p:cNvCxnSpPr/>
          <p:nvPr/>
        </p:nvCxnSpPr>
        <p:spPr>
          <a:xfrm flipH="1">
            <a:off x="7306492" y="2432180"/>
            <a:ext cx="145871" cy="170449"/>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H="1">
            <a:off x="11199223" y="2731081"/>
            <a:ext cx="74166" cy="214898"/>
          </a:xfrm>
          <a:prstGeom prst="straightConnector1">
            <a:avLst/>
          </a:prstGeom>
          <a:ln w="127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Content Placeholder 4"/>
          <p:cNvSpPr txBox="1">
            <a:spLocks/>
          </p:cNvSpPr>
          <p:nvPr/>
        </p:nvSpPr>
        <p:spPr>
          <a:xfrm>
            <a:off x="445088" y="5274730"/>
            <a:ext cx="11304000" cy="821269"/>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1200"/>
              </a:spcBef>
              <a:buFont typeface="Wingdings" panose="05000000000000000000" pitchFamily="2" charset="2"/>
              <a:buChar char="§"/>
              <a:defRPr sz="2000" kern="1200">
                <a:solidFill>
                  <a:schemeClr val="tx1"/>
                </a:solidFill>
                <a:latin typeface="Calibri" panose="020F0502020204030204" pitchFamily="34" charset="0"/>
                <a:ea typeface="+mn-ea"/>
                <a:cs typeface="+mn-cs"/>
              </a:defRPr>
            </a:lvl1pPr>
            <a:lvl2pPr marL="360000" indent="-180000" algn="l" defTabSz="914400" rtl="0" eaLnBrk="1" latinLnBrk="0" hangingPunct="1">
              <a:lnSpc>
                <a:spcPct val="100000"/>
              </a:lnSpc>
              <a:spcBef>
                <a:spcPts val="1200"/>
              </a:spcBef>
              <a:buFont typeface="Symbol" panose="05050102010706020507" pitchFamily="18" charset="2"/>
              <a:buChar char="-"/>
              <a:defRPr sz="1800" kern="1200">
                <a:solidFill>
                  <a:schemeClr val="tx1"/>
                </a:solidFill>
                <a:latin typeface="Calibri" panose="020F0502020204030204" pitchFamily="34" charset="0"/>
                <a:ea typeface="+mn-ea"/>
                <a:cs typeface="+mn-cs"/>
              </a:defRPr>
            </a:lvl2pPr>
            <a:lvl3pPr marL="54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3pPr>
            <a:lvl4pPr marL="72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4pPr>
            <a:lvl5pPr marL="90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5pPr>
            <a:lvl6pPr marL="108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6pPr>
            <a:lvl7pPr marL="126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7pPr>
            <a:lvl8pPr marL="1438275"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8pPr>
            <a:lvl9pPr marL="161925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9pPr>
          </a:lstStyle>
          <a:p>
            <a:r>
              <a:rPr lang="en-US" dirty="0" smtClean="0"/>
              <a:t>All operationally valid data included for both concentrated and </a:t>
            </a:r>
            <a:r>
              <a:rPr lang="en-US" dirty="0"/>
              <a:t>dilute NO</a:t>
            </a:r>
            <a:r>
              <a:rPr lang="en-US" baseline="-25000" dirty="0"/>
              <a:t>2</a:t>
            </a:r>
            <a:r>
              <a:rPr lang="en-US" dirty="0" smtClean="0"/>
              <a:t>.</a:t>
            </a:r>
          </a:p>
          <a:p>
            <a:r>
              <a:rPr lang="en-US" dirty="0" smtClean="0"/>
              <a:t>Dilute NO</a:t>
            </a:r>
            <a:r>
              <a:rPr lang="en-US" baseline="-25000" dirty="0" smtClean="0"/>
              <a:t>2</a:t>
            </a:r>
            <a:r>
              <a:rPr lang="en-US" dirty="0" smtClean="0"/>
              <a:t> shows same trend as concentrated NO</a:t>
            </a:r>
            <a:r>
              <a:rPr lang="en-US" baseline="-25000" dirty="0" smtClean="0"/>
              <a:t>2</a:t>
            </a:r>
            <a:r>
              <a:rPr lang="en-US" dirty="0" smtClean="0"/>
              <a:t>.</a:t>
            </a:r>
          </a:p>
        </p:txBody>
      </p:sp>
      <p:graphicFrame>
        <p:nvGraphicFramePr>
          <p:cNvPr id="23" name="Chart 22"/>
          <p:cNvGraphicFramePr>
            <a:graphicFrameLocks/>
          </p:cNvGraphicFramePr>
          <p:nvPr>
            <p:extLst>
              <p:ext uri="{D42A27DB-BD31-4B8C-83A1-F6EECF244321}">
                <p14:modId xmlns:p14="http://schemas.microsoft.com/office/powerpoint/2010/main" val="4166091390"/>
              </p:ext>
            </p:extLst>
          </p:nvPr>
        </p:nvGraphicFramePr>
        <p:xfrm>
          <a:off x="442913" y="1942239"/>
          <a:ext cx="3657600" cy="3209544"/>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2911916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648685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smtClean="0"/>
              <a:t>Dilute nitrogen dioxide</a:t>
            </a:r>
            <a:br>
              <a:rPr lang="en-US" dirty="0" smtClean="0"/>
            </a:br>
            <a:r>
              <a:rPr lang="en-US" b="0" dirty="0" smtClean="0"/>
              <a:t>Available data</a:t>
            </a:r>
            <a:endParaRPr lang="en-US" b="0"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982221368"/>
              </p:ext>
            </p:extLst>
          </p:nvPr>
        </p:nvGraphicFramePr>
        <p:xfrm>
          <a:off x="442913" y="1371600"/>
          <a:ext cx="10460218" cy="4724406"/>
        </p:xfrm>
        <a:graphic>
          <a:graphicData uri="http://schemas.openxmlformats.org/drawingml/2006/table">
            <a:tbl>
              <a:tblPr firstRow="1"/>
              <a:tblGrid>
                <a:gridCol w="806844"/>
                <a:gridCol w="1179233"/>
                <a:gridCol w="806844"/>
                <a:gridCol w="806844"/>
                <a:gridCol w="806844"/>
                <a:gridCol w="806844"/>
                <a:gridCol w="806844"/>
                <a:gridCol w="1065447"/>
                <a:gridCol w="1283815"/>
                <a:gridCol w="806844"/>
                <a:gridCol w="1283815"/>
              </a:tblGrid>
              <a:tr h="174978">
                <a:tc>
                  <a:txBody>
                    <a:bodyPr/>
                    <a:lstStyle/>
                    <a:p>
                      <a:pPr algn="l" rtl="0" fontAlgn="b"/>
                      <a:r>
                        <a:rPr lang="en-US" sz="1000" b="1" i="0" u="none" strike="noStrike" dirty="0">
                          <a:solidFill>
                            <a:srgbClr val="FFFFFF"/>
                          </a:solidFill>
                          <a:effectLst/>
                          <a:latin typeface="Arial" panose="020B0604020202020204" pitchFamily="34" charset="0"/>
                        </a:rPr>
                        <a:t>IND</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a:solidFill>
                            <a:srgbClr val="FFFFFF"/>
                          </a:solidFill>
                          <a:effectLst/>
                          <a:latin typeface="Arial" panose="020B0604020202020204" pitchFamily="34" charset="0"/>
                        </a:rPr>
                        <a:t>TESTKEY</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a:solidFill>
                            <a:srgbClr val="FFFFFF"/>
                          </a:solidFill>
                          <a:effectLst/>
                          <a:latin typeface="Arial" panose="020B0604020202020204" pitchFamily="34" charset="0"/>
                        </a:rPr>
                        <a:t>APPARATS</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a:solidFill>
                            <a:srgbClr val="FFFFFF"/>
                          </a:solidFill>
                          <a:effectLst/>
                          <a:latin typeface="Arial" panose="020B0604020202020204" pitchFamily="34" charset="0"/>
                        </a:rPr>
                        <a:t>VAL</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a:solidFill>
                            <a:srgbClr val="FFFFFF"/>
                          </a:solidFill>
                          <a:effectLst/>
                          <a:latin typeface="Arial" panose="020B0604020202020204" pitchFamily="34" charset="0"/>
                        </a:rPr>
                        <a:t>PVIS</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a:solidFill>
                            <a:srgbClr val="FFFFFF"/>
                          </a:solidFill>
                          <a:effectLst/>
                          <a:latin typeface="Arial" panose="020B0604020202020204" pitchFamily="34" charset="0"/>
                        </a:rPr>
                        <a:t>MRVTEMP</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dirty="0">
                          <a:solidFill>
                            <a:srgbClr val="FFFFFF"/>
                          </a:solidFill>
                          <a:effectLst/>
                          <a:latin typeface="Arial" panose="020B0604020202020204" pitchFamily="34" charset="0"/>
                        </a:rPr>
                        <a:t>MRVYSEOT</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a:solidFill>
                            <a:srgbClr val="FFFFFF"/>
                          </a:solidFill>
                          <a:effectLst/>
                          <a:latin typeface="Arial" panose="020B0604020202020204" pitchFamily="34" charset="0"/>
                        </a:rPr>
                        <a:t>MR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dirty="0">
                          <a:solidFill>
                            <a:srgbClr val="FFFFFF"/>
                          </a:solidFill>
                          <a:effectLst/>
                          <a:latin typeface="Arial" panose="020B0604020202020204" pitchFamily="34" charset="0"/>
                        </a:rPr>
                        <a:t>Current limits</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a:solidFill>
                            <a:srgbClr val="FFFFFF"/>
                          </a:solidFill>
                          <a:effectLst/>
                          <a:latin typeface="Arial" panose="020B0604020202020204" pitchFamily="34" charset="0"/>
                        </a:rPr>
                        <a:t>MR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c>
                  <a:txBody>
                    <a:bodyPr/>
                    <a:lstStyle/>
                    <a:p>
                      <a:pPr algn="l" rtl="0" fontAlgn="b"/>
                      <a:r>
                        <a:rPr lang="en-US" sz="1000" b="1" i="0" u="none" strike="noStrike" dirty="0">
                          <a:solidFill>
                            <a:srgbClr val="FFFFFF"/>
                          </a:solidFill>
                          <a:effectLst/>
                          <a:latin typeface="Arial" panose="020B0604020202020204" pitchFamily="34" charset="0"/>
                        </a:rPr>
                        <a:t>Current limits</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5B9BD5"/>
                    </a:solidFill>
                  </a:tcPr>
                </a:tc>
              </a:tr>
              <a:tr h="174978">
                <a:tc>
                  <a:txBody>
                    <a:bodyPr/>
                    <a:lstStyle/>
                    <a:p>
                      <a:pPr algn="l" rtl="0" fontAlgn="b"/>
                      <a:r>
                        <a:rPr lang="en-US" sz="1000" b="0" i="0" u="none" strike="noStrike">
                          <a:solidFill>
                            <a:srgbClr val="000000"/>
                          </a:solidFill>
                          <a:effectLst/>
                          <a:latin typeface="Arial" panose="020B0604020202020204" pitchFamily="34" charset="0"/>
                        </a:rPr>
                        <a:t>435-1</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16911-ROBO</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62.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3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72,20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rowSpan="6">
                  <a:txBody>
                    <a:bodyPr/>
                    <a:lstStyle/>
                    <a:p>
                      <a:pPr algn="l" rtl="0" fontAlgn="ctr"/>
                      <a:r>
                        <a:rPr lang="en-US" sz="1000" b="0" i="0" u="none" strike="noStrike">
                          <a:solidFill>
                            <a:srgbClr val="000000"/>
                          </a:solidFill>
                          <a:effectLst/>
                          <a:latin typeface="Arial" panose="020B0604020202020204" pitchFamily="34" charset="0"/>
                        </a:rPr>
                        <a:t>44,570 – 92,91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1.1872</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rowSpan="6">
                  <a:txBody>
                    <a:bodyPr/>
                    <a:lstStyle/>
                    <a:p>
                      <a:pPr algn="l" rtl="0" fontAlgn="ctr"/>
                      <a:r>
                        <a:rPr lang="sv-SE" sz="1000" b="0" i="0" u="none" strike="noStrike">
                          <a:solidFill>
                            <a:srgbClr val="000000"/>
                          </a:solidFill>
                          <a:effectLst/>
                          <a:latin typeface="Arial" panose="020B0604020202020204" pitchFamily="34" charset="0"/>
                        </a:rPr>
                        <a:t>10.7048 - 11.4394</a:t>
                      </a:r>
                      <a:br>
                        <a:rPr lang="sv-SE" sz="1000" b="0" i="0" u="none" strike="noStrike">
                          <a:solidFill>
                            <a:srgbClr val="000000"/>
                          </a:solidFill>
                          <a:effectLst/>
                          <a:latin typeface="Arial" panose="020B0604020202020204" pitchFamily="34" charset="0"/>
                        </a:rPr>
                      </a:br>
                      <a:r>
                        <a:rPr lang="sv-SE" sz="1000" b="0" i="0" u="none" strike="noStrike">
                          <a:solidFill>
                            <a:srgbClr val="000000"/>
                          </a:solidFill>
                          <a:effectLst/>
                          <a:latin typeface="Arial" panose="020B0604020202020204" pitchFamily="34" charset="0"/>
                        </a:rPr>
                        <a:t/>
                      </a:r>
                      <a:br>
                        <a:rPr lang="sv-SE" sz="1000" b="0" i="0" u="none" strike="noStrike">
                          <a:solidFill>
                            <a:srgbClr val="000000"/>
                          </a:solidFill>
                          <a:effectLst/>
                          <a:latin typeface="Arial" panose="020B0604020202020204" pitchFamily="34" charset="0"/>
                        </a:rPr>
                      </a:br>
                      <a:r>
                        <a:rPr lang="sv-SE" sz="1000" b="0" i="0" u="none" strike="noStrike">
                          <a:solidFill>
                            <a:srgbClr val="000000"/>
                          </a:solidFill>
                          <a:effectLst/>
                          <a:latin typeface="Arial" panose="020B0604020202020204" pitchFamily="34" charset="0"/>
                        </a:rPr>
                        <a:t>(s.d. ln) = 0.2029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rtl="0" fontAlgn="b"/>
                      <a:r>
                        <a:rPr lang="en-US" sz="1000" b="0" i="0" u="none" strike="noStrike">
                          <a:solidFill>
                            <a:srgbClr val="000000"/>
                          </a:solidFill>
                          <a:effectLst/>
                          <a:latin typeface="Arial" panose="020B0604020202020204" pitchFamily="34" charset="0"/>
                        </a:rPr>
                        <a:t>435-1</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40615-ROBO</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4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3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61,70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1.030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5-1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7372-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 3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48.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74,3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1.2159</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dirty="0">
                          <a:solidFill>
                            <a:srgbClr val="000000"/>
                          </a:solidFill>
                          <a:effectLst/>
                          <a:latin typeface="Arial" panose="020B0604020202020204" pitchFamily="34" charset="0"/>
                        </a:rPr>
                        <a:t>435-1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5714-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G 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93.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81,0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1.3022</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5-1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8779-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G 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6.2</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55,4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0.9223</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sngStrike">
                          <a:solidFill>
                            <a:srgbClr val="FF0000"/>
                          </a:solidFill>
                          <a:effectLst/>
                          <a:latin typeface="Arial" panose="020B0604020202020204" pitchFamily="34" charset="0"/>
                        </a:rPr>
                        <a:t>435-1 </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138781-ROBO                           </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G 8            </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LG</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252</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30</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sngStrike">
                          <a:solidFill>
                            <a:srgbClr val="FF0000"/>
                          </a:solidFill>
                          <a:effectLst/>
                          <a:latin typeface="Arial" panose="020B0604020202020204" pitchFamily="34" charset="0"/>
                        </a:rPr>
                        <a:t>&lt;70</a:t>
                      </a:r>
                      <a:endParaRPr lang="en-US" sz="1000" b="0" i="0" u="none" strike="noStrike">
                        <a:solidFill>
                          <a:srgbClr val="FF0000"/>
                        </a:solidFill>
                        <a:effectLst/>
                        <a:latin typeface="Arial" panose="020B0604020202020204" pitchFamily="34" charset="0"/>
                      </a:endParaRP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223,100</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sngStrike">
                          <a:solidFill>
                            <a:srgbClr val="FF0000"/>
                          </a:solidFill>
                          <a:effectLst/>
                          <a:latin typeface="Arial" panose="020B0604020202020204" pitchFamily="34" charset="0"/>
                        </a:rPr>
                        <a:t>12.3154</a:t>
                      </a:r>
                      <a:endParaRPr lang="en-US" sz="1000" b="0" i="0" u="none" strike="noStrike">
                        <a:solidFill>
                          <a:srgbClr val="FF0000"/>
                        </a:solidFill>
                        <a:effectLst/>
                        <a:latin typeface="Arial" panose="020B0604020202020204" pitchFamily="34" charset="0"/>
                      </a:endParaRP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dirty="0">
                          <a:solidFill>
                            <a:srgbClr val="000000"/>
                          </a:solidFill>
                          <a:effectLst/>
                          <a:latin typeface="Arial" panose="020B0604020202020204" pitchFamily="34" charset="0"/>
                        </a:rPr>
                        <a:t>AV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68,920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dirty="0">
                          <a:solidFill>
                            <a:srgbClr val="000000"/>
                          </a:solidFill>
                          <a:effectLst/>
                          <a:latin typeface="Arial" panose="020B0604020202020204" pitchFamily="34" charset="0"/>
                        </a:rPr>
                        <a:t>AV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11.1315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a:solidFill>
                            <a:srgbClr val="000000"/>
                          </a:solidFill>
                          <a:effectLst/>
                          <a:latin typeface="Arial" panose="020B0604020202020204" pitchFamily="34" charset="0"/>
                        </a:rPr>
                        <a:t>STDE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a:solidFill>
                            <a:srgbClr val="000000"/>
                          </a:solidFill>
                          <a:effectLst/>
                          <a:latin typeface="Arial" panose="020B0604020202020204" pitchFamily="34" charset="0"/>
                        </a:rPr>
                        <a:t>                   10,254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a:solidFill>
                            <a:srgbClr val="000000"/>
                          </a:solidFill>
                          <a:effectLst/>
                          <a:latin typeface="Arial" panose="020B0604020202020204" pitchFamily="34" charset="0"/>
                        </a:rPr>
                        <a:t>STDE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0.152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rtl="0" fontAlgn="b"/>
                      <a:r>
                        <a:rPr lang="en-US" sz="1000" b="0" i="0" u="none" strike="noStrike">
                          <a:solidFill>
                            <a:srgbClr val="000000"/>
                          </a:solidFill>
                          <a:effectLst/>
                          <a:latin typeface="Arial" panose="020B0604020202020204" pitchFamily="34" charset="0"/>
                        </a:rPr>
                        <a:t>438</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83467-ROBO</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97</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3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51,00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rowSpan="6">
                  <a:txBody>
                    <a:bodyPr/>
                    <a:lstStyle/>
                    <a:p>
                      <a:pPr algn="l" rtl="0" fontAlgn="ctr"/>
                      <a:r>
                        <a:rPr lang="en-US" sz="1000" b="0" i="0" u="none" strike="noStrike">
                          <a:solidFill>
                            <a:srgbClr val="000000"/>
                          </a:solidFill>
                          <a:effectLst/>
                          <a:latin typeface="Arial" panose="020B0604020202020204" pitchFamily="34" charset="0"/>
                        </a:rPr>
                        <a:t>19,308 – 42,912</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0.8396</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rowSpan="6">
                  <a:txBody>
                    <a:bodyPr/>
                    <a:lstStyle/>
                    <a:p>
                      <a:pPr algn="l" rtl="0" fontAlgn="ctr"/>
                      <a:r>
                        <a:rPr lang="sv-SE" sz="1000" b="0" i="0" u="none" strike="noStrike">
                          <a:solidFill>
                            <a:srgbClr val="000000"/>
                          </a:solidFill>
                          <a:effectLst/>
                          <a:latin typeface="Arial" panose="020B0604020202020204" pitchFamily="34" charset="0"/>
                        </a:rPr>
                        <a:t>9.8683 - 10.6669</a:t>
                      </a:r>
                      <a:br>
                        <a:rPr lang="sv-SE" sz="1000" b="0" i="0" u="none" strike="noStrike">
                          <a:solidFill>
                            <a:srgbClr val="000000"/>
                          </a:solidFill>
                          <a:effectLst/>
                          <a:latin typeface="Arial" panose="020B0604020202020204" pitchFamily="34" charset="0"/>
                        </a:rPr>
                      </a:br>
                      <a:r>
                        <a:rPr lang="sv-SE" sz="1000" b="0" i="0" u="none" strike="noStrike">
                          <a:solidFill>
                            <a:srgbClr val="000000"/>
                          </a:solidFill>
                          <a:effectLst/>
                          <a:latin typeface="Arial" panose="020B0604020202020204" pitchFamily="34" charset="0"/>
                        </a:rPr>
                        <a:t/>
                      </a:r>
                      <a:br>
                        <a:rPr lang="sv-SE" sz="1000" b="0" i="0" u="none" strike="noStrike">
                          <a:solidFill>
                            <a:srgbClr val="000000"/>
                          </a:solidFill>
                          <a:effectLst/>
                          <a:latin typeface="Arial" panose="020B0604020202020204" pitchFamily="34" charset="0"/>
                        </a:rPr>
                      </a:br>
                      <a:r>
                        <a:rPr lang="sv-SE" sz="1000" b="0" i="0" u="none" strike="noStrike">
                          <a:solidFill>
                            <a:srgbClr val="000000"/>
                          </a:solidFill>
                          <a:effectLst/>
                          <a:latin typeface="Arial" panose="020B0604020202020204" pitchFamily="34" charset="0"/>
                        </a:rPr>
                        <a:t>(s.d. ln) = 0.2037</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rtl="0" fontAlgn="b"/>
                      <a:r>
                        <a:rPr lang="en-US" sz="1000" b="0" i="0" u="none" strike="noStrike">
                          <a:solidFill>
                            <a:srgbClr val="000000"/>
                          </a:solidFill>
                          <a:effectLst/>
                          <a:latin typeface="Arial" panose="020B0604020202020204" pitchFamily="34" charset="0"/>
                        </a:rPr>
                        <a:t>438</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19646-ROBO</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56.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3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34,50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0.4487</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8</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7387-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 3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NN</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44.9</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2,9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0.4012</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8</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5716-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G 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89.7</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40,8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0.6164</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8</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5717-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G 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O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229.1</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dirty="0">
                          <a:solidFill>
                            <a:srgbClr val="000000"/>
                          </a:solidFill>
                          <a:effectLst/>
                          <a:latin typeface="Arial" panose="020B0604020202020204" pitchFamily="34" charset="0"/>
                        </a:rPr>
                        <a:t>63,2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1.0541</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8</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8795-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G 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60.7</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5,2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0.4688</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dirty="0">
                          <a:solidFill>
                            <a:srgbClr val="000000"/>
                          </a:solidFill>
                          <a:effectLst/>
                          <a:latin typeface="Arial" panose="020B0604020202020204" pitchFamily="34" charset="0"/>
                        </a:rPr>
                        <a:t>AV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42,933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dirty="0">
                          <a:solidFill>
                            <a:srgbClr val="000000"/>
                          </a:solidFill>
                          <a:effectLst/>
                          <a:latin typeface="Arial" panose="020B0604020202020204" pitchFamily="34" charset="0"/>
                        </a:rPr>
                        <a:t>AV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a:solidFill>
                            <a:srgbClr val="000000"/>
                          </a:solidFill>
                          <a:effectLst/>
                          <a:latin typeface="Arial" panose="020B0604020202020204" pitchFamily="34" charset="0"/>
                        </a:rPr>
                        <a:t>        10.6381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 </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a:solidFill>
                            <a:srgbClr val="000000"/>
                          </a:solidFill>
                          <a:effectLst/>
                          <a:latin typeface="Arial" panose="020B0604020202020204" pitchFamily="34" charset="0"/>
                        </a:rPr>
                        <a:t>STDE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a:solidFill>
                            <a:srgbClr val="000000"/>
                          </a:solidFill>
                          <a:effectLst/>
                          <a:latin typeface="Arial" panose="020B0604020202020204" pitchFamily="34" charset="0"/>
                        </a:rPr>
                        <a:t>                   11,933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dirty="0">
                          <a:solidFill>
                            <a:srgbClr val="000000"/>
                          </a:solidFill>
                          <a:effectLst/>
                          <a:latin typeface="Arial" panose="020B0604020202020204" pitchFamily="34" charset="0"/>
                        </a:rPr>
                        <a:t>STDE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0.2587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 </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fontAlgn="b"/>
                      <a:r>
                        <a:rPr lang="en-US" sz="1000" b="0" i="0" u="none" strike="noStrike" dirty="0">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rtl="0" fontAlgn="b"/>
                      <a:r>
                        <a:rPr lang="en-US" sz="1000" b="0" i="0" u="none" strike="noStrike">
                          <a:solidFill>
                            <a:srgbClr val="000000"/>
                          </a:solidFill>
                          <a:effectLst/>
                          <a:latin typeface="Arial" panose="020B0604020202020204" pitchFamily="34" charset="0"/>
                        </a:rPr>
                        <a:t>434-2</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19643-ROBO</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44.3</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3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65,10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rowSpan="6">
                  <a:txBody>
                    <a:bodyPr/>
                    <a:lstStyle/>
                    <a:p>
                      <a:pPr algn="l" rtl="0" fontAlgn="ctr"/>
                      <a:r>
                        <a:rPr lang="en-US" sz="1000" b="0" i="0" u="none" strike="noStrike">
                          <a:solidFill>
                            <a:srgbClr val="000000"/>
                          </a:solidFill>
                          <a:effectLst/>
                          <a:latin typeface="Arial" panose="020B0604020202020204" pitchFamily="34" charset="0"/>
                        </a:rPr>
                        <a:t>41,126 – 76,008</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1.0837</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rowSpan="6">
                  <a:txBody>
                    <a:bodyPr/>
                    <a:lstStyle/>
                    <a:p>
                      <a:pPr algn="l" rtl="0" fontAlgn="ctr"/>
                      <a:r>
                        <a:rPr lang="sv-SE" sz="1000" b="0" i="0" u="none" strike="noStrike">
                          <a:solidFill>
                            <a:srgbClr val="000000"/>
                          </a:solidFill>
                          <a:effectLst/>
                          <a:latin typeface="Arial" panose="020B0604020202020204" pitchFamily="34" charset="0"/>
                        </a:rPr>
                        <a:t>10.6244 - 11.2386 </a:t>
                      </a:r>
                      <a:br>
                        <a:rPr lang="sv-SE" sz="1000" b="0" i="0" u="none" strike="noStrike">
                          <a:solidFill>
                            <a:srgbClr val="000000"/>
                          </a:solidFill>
                          <a:effectLst/>
                          <a:latin typeface="Arial" panose="020B0604020202020204" pitchFamily="34" charset="0"/>
                        </a:rPr>
                      </a:br>
                      <a:r>
                        <a:rPr lang="sv-SE" sz="1000" b="0" i="0" u="none" strike="noStrike">
                          <a:solidFill>
                            <a:srgbClr val="000000"/>
                          </a:solidFill>
                          <a:effectLst/>
                          <a:latin typeface="Arial" panose="020B0604020202020204" pitchFamily="34" charset="0"/>
                        </a:rPr>
                        <a:t/>
                      </a:r>
                      <a:br>
                        <a:rPr lang="sv-SE" sz="1000" b="0" i="0" u="none" strike="noStrike">
                          <a:solidFill>
                            <a:srgbClr val="000000"/>
                          </a:solidFill>
                          <a:effectLst/>
                          <a:latin typeface="Arial" panose="020B0604020202020204" pitchFamily="34" charset="0"/>
                        </a:rPr>
                      </a:br>
                      <a:r>
                        <a:rPr lang="sv-SE" sz="1000" b="0" i="0" u="none" strike="noStrike">
                          <a:solidFill>
                            <a:srgbClr val="000000"/>
                          </a:solidFill>
                          <a:effectLst/>
                          <a:latin typeface="Arial" panose="020B0604020202020204" pitchFamily="34" charset="0"/>
                        </a:rPr>
                        <a:t>(s.d. ln) = 0.1551</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rtl="0" fontAlgn="b"/>
                      <a:r>
                        <a:rPr lang="en-US" sz="1000" b="0" i="0" u="none" strike="noStrike">
                          <a:solidFill>
                            <a:srgbClr val="000000"/>
                          </a:solidFill>
                          <a:effectLst/>
                          <a:latin typeface="Arial" panose="020B0604020202020204" pitchFamily="34" charset="0"/>
                        </a:rPr>
                        <a:t>434-2</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13304-ROBO</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3</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151</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3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65,500</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1.0898</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4-2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42329-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M 3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NN</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17.5</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50,9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dirty="0">
                          <a:solidFill>
                            <a:srgbClr val="000000"/>
                          </a:solidFill>
                          <a:effectLst/>
                          <a:latin typeface="Arial" panose="020B0604020202020204" pitchFamily="34" charset="0"/>
                        </a:rPr>
                        <a:t>10.8376</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4-2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8766-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G 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A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05.4</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43,1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0.6713</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434-2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38767-ROBO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G 8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O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178.7</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3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noStrike">
                          <a:solidFill>
                            <a:srgbClr val="000000"/>
                          </a:solidFill>
                          <a:effectLst/>
                          <a:latin typeface="Arial" panose="020B0604020202020204" pitchFamily="34" charset="0"/>
                        </a:rPr>
                        <a:t>&lt;35</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76,700</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noStrike">
                          <a:solidFill>
                            <a:srgbClr val="000000"/>
                          </a:solidFill>
                          <a:effectLst/>
                          <a:latin typeface="Arial" panose="020B0604020202020204" pitchFamily="34" charset="0"/>
                        </a:rPr>
                        <a:t>11.2477</a:t>
                      </a: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905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sngStrike">
                          <a:solidFill>
                            <a:srgbClr val="FF0000"/>
                          </a:solidFill>
                          <a:effectLst/>
                          <a:latin typeface="Arial" panose="020B0604020202020204" pitchFamily="34" charset="0"/>
                        </a:rPr>
                        <a:t>434-2 </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142038-ROBO                           </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G 8            </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LG</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146.1</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30</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ctr"/>
                      <a:r>
                        <a:rPr lang="en-US" sz="1000" b="0" i="0" u="none" strike="sngStrike">
                          <a:solidFill>
                            <a:srgbClr val="FF0000"/>
                          </a:solidFill>
                          <a:effectLst/>
                          <a:latin typeface="Arial" panose="020B0604020202020204" pitchFamily="34" charset="0"/>
                        </a:rPr>
                        <a:t>&lt;35</a:t>
                      </a:r>
                      <a:endParaRPr lang="en-US" sz="1000" b="0" i="0" u="none" strike="noStrike">
                        <a:solidFill>
                          <a:srgbClr val="FF0000"/>
                        </a:solidFill>
                        <a:effectLst/>
                        <a:latin typeface="Arial" panose="020B0604020202020204" pitchFamily="34" charset="0"/>
                      </a:endParaRP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sngStrike">
                          <a:solidFill>
                            <a:srgbClr val="FF0000"/>
                          </a:solidFill>
                          <a:effectLst/>
                          <a:latin typeface="Arial" panose="020B0604020202020204" pitchFamily="34" charset="0"/>
                        </a:rPr>
                        <a:t>69,200</a:t>
                      </a:r>
                      <a:endParaRPr lang="en-US" sz="1000" b="0" i="0" u="none" strike="noStrike">
                        <a:solidFill>
                          <a:srgbClr val="FF0000"/>
                        </a:solidFill>
                        <a:effectLst/>
                        <a:latin typeface="Arial" panose="020B0604020202020204" pitchFamily="34" charset="0"/>
                      </a:endParaRP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c>
                  <a:txBody>
                    <a:bodyPr/>
                    <a:lstStyle/>
                    <a:p>
                      <a:pPr algn="l" rtl="0" fontAlgn="ctr"/>
                      <a:r>
                        <a:rPr lang="en-US" sz="1000" b="0" i="0" u="none" strike="sngStrike">
                          <a:solidFill>
                            <a:srgbClr val="FF0000"/>
                          </a:solidFill>
                          <a:effectLst/>
                          <a:latin typeface="Arial" panose="020B0604020202020204" pitchFamily="34" charset="0"/>
                        </a:rPr>
                        <a:t>11.1448</a:t>
                      </a:r>
                      <a:endParaRPr lang="en-US" sz="1000" b="0" i="0" u="none" strike="noStrike">
                        <a:solidFill>
                          <a:srgbClr val="FF0000"/>
                        </a:solidFill>
                        <a:effectLst/>
                        <a:latin typeface="Arial" panose="020B0604020202020204" pitchFamily="34" charset="0"/>
                      </a:endParaRPr>
                    </a:p>
                  </a:txBody>
                  <a:tcPr marL="6798" marR="6798" marT="6798"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905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vMerge="1">
                  <a:txBody>
                    <a:bodyPr/>
                    <a:lstStyle/>
                    <a:p>
                      <a:endParaRPr lang="en-US"/>
                    </a:p>
                  </a:txBody>
                  <a:tcPr/>
                </a:tc>
              </a:tr>
              <a:tr h="174978">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dirty="0">
                          <a:solidFill>
                            <a:srgbClr val="000000"/>
                          </a:solidFill>
                          <a:effectLst/>
                          <a:latin typeface="Arial" panose="020B0604020202020204" pitchFamily="34" charset="0"/>
                        </a:rPr>
                        <a:t>AV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60,260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dirty="0">
                          <a:solidFill>
                            <a:srgbClr val="000000"/>
                          </a:solidFill>
                          <a:effectLst/>
                          <a:latin typeface="Arial" panose="020B0604020202020204" pitchFamily="34" charset="0"/>
                        </a:rPr>
                        <a:t>AVG</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10.9860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dirty="0">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r h="174978">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a:solidFill>
                            <a:srgbClr val="000000"/>
                          </a:solidFill>
                          <a:effectLst/>
                          <a:latin typeface="Arial" panose="020B0604020202020204" pitchFamily="34" charset="0"/>
                        </a:rPr>
                        <a:t>STDE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a:solidFill>
                            <a:srgbClr val="000000"/>
                          </a:solidFill>
                          <a:effectLst/>
                          <a:latin typeface="Arial" panose="020B0604020202020204" pitchFamily="34" charset="0"/>
                        </a:rPr>
                        <a:t>                   13,259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r" fontAlgn="b"/>
                      <a:r>
                        <a:rPr lang="en-US" sz="1000" b="1" i="0" u="none" strike="noStrike">
                          <a:solidFill>
                            <a:srgbClr val="000000"/>
                          </a:solidFill>
                          <a:effectLst/>
                          <a:latin typeface="Arial" panose="020B0604020202020204" pitchFamily="34" charset="0"/>
                        </a:rPr>
                        <a:t>STDEV</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fontAlgn="b"/>
                      <a:r>
                        <a:rPr lang="en-US" sz="1000" b="1" i="0" u="none" strike="noStrike" dirty="0">
                          <a:solidFill>
                            <a:srgbClr val="000000"/>
                          </a:solidFill>
                          <a:effectLst/>
                          <a:latin typeface="Arial" panose="020B0604020202020204" pitchFamily="34" charset="0"/>
                        </a:rPr>
                        <a:t>           0.2290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c>
                  <a:txBody>
                    <a:bodyPr/>
                    <a:lstStyle/>
                    <a:p>
                      <a:pPr algn="l" rtl="0" fontAlgn="b"/>
                      <a:r>
                        <a:rPr lang="en-US" sz="1000" b="0" i="0" u="none" strike="noStrike" dirty="0">
                          <a:solidFill>
                            <a:srgbClr val="000000"/>
                          </a:solidFill>
                          <a:effectLst/>
                          <a:latin typeface="Arial" panose="020B0604020202020204" pitchFamily="34" charset="0"/>
                        </a:rPr>
                        <a:t> </a:t>
                      </a:r>
                    </a:p>
                  </a:txBody>
                  <a:tcPr marL="6798" marR="6798" marT="6798" marB="0" anchor="b">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EAEFF7"/>
                    </a:solidFill>
                  </a:tcPr>
                </a:tc>
              </a:tr>
            </a:tbl>
          </a:graphicData>
        </a:graphic>
      </p:graphicFrame>
    </p:spTree>
    <p:extLst>
      <p:ext uri="{BB962C8B-B14F-4D97-AF65-F5344CB8AC3E}">
        <p14:creationId xmlns:p14="http://schemas.microsoft.com/office/powerpoint/2010/main" val="2336104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Content Placeholder 2"/>
          <p:cNvSpPr>
            <a:spLocks noGrp="1"/>
          </p:cNvSpPr>
          <p:nvPr>
            <p:ph idx="1"/>
          </p:nvPr>
        </p:nvSpPr>
        <p:spPr/>
        <p:txBody>
          <a:bodyPr/>
          <a:lstStyle/>
          <a:p>
            <a:pPr lvl="0">
              <a:spcBef>
                <a:spcPts val="600"/>
              </a:spcBef>
            </a:pPr>
            <a:r>
              <a:rPr lang="en-US" sz="1800" dirty="0"/>
              <a:t>Welcome, ASTM statement</a:t>
            </a:r>
          </a:p>
          <a:p>
            <a:pPr lvl="0">
              <a:spcBef>
                <a:spcPts val="600"/>
              </a:spcBef>
            </a:pPr>
            <a:r>
              <a:rPr lang="en-US" sz="1800" dirty="0"/>
              <a:t>Review membership of SP</a:t>
            </a:r>
          </a:p>
          <a:p>
            <a:pPr lvl="0">
              <a:spcBef>
                <a:spcPts val="600"/>
              </a:spcBef>
            </a:pPr>
            <a:r>
              <a:rPr lang="en-US" sz="1800" dirty="0"/>
              <a:t>Review and approve minutes from previous meetings (see attachment)</a:t>
            </a:r>
          </a:p>
          <a:p>
            <a:pPr lvl="0">
              <a:spcBef>
                <a:spcPts val="600"/>
              </a:spcBef>
            </a:pPr>
            <a:r>
              <a:rPr lang="en-US" sz="1800" dirty="0"/>
              <a:t>Review and follow-up on actions from </a:t>
            </a:r>
            <a:r>
              <a:rPr lang="en-US" sz="1800" dirty="0" smtClean="0"/>
              <a:t>June 20</a:t>
            </a:r>
            <a:r>
              <a:rPr lang="en-US" sz="1800" baseline="30000" dirty="0" smtClean="0"/>
              <a:t>th</a:t>
            </a:r>
            <a:r>
              <a:rPr lang="en-US" sz="1800" dirty="0" smtClean="0"/>
              <a:t> </a:t>
            </a:r>
            <a:r>
              <a:rPr lang="en-US" sz="1800" dirty="0"/>
              <a:t>meeting</a:t>
            </a:r>
          </a:p>
          <a:p>
            <a:pPr lvl="0">
              <a:spcBef>
                <a:spcPts val="600"/>
              </a:spcBef>
            </a:pPr>
            <a:r>
              <a:rPr lang="en-US" sz="1800" dirty="0" smtClean="0"/>
              <a:t>TMC </a:t>
            </a:r>
            <a:r>
              <a:rPr lang="en-US" sz="1800" dirty="0"/>
              <a:t>438-2 </a:t>
            </a:r>
            <a:endParaRPr lang="en-US" sz="1800" dirty="0" smtClean="0"/>
          </a:p>
          <a:p>
            <a:pPr lvl="0">
              <a:spcBef>
                <a:spcPts val="600"/>
              </a:spcBef>
            </a:pPr>
            <a:r>
              <a:rPr lang="en-US" sz="1800" dirty="0" smtClean="0"/>
              <a:t>TMC </a:t>
            </a:r>
            <a:r>
              <a:rPr lang="en-US" sz="1800" dirty="0"/>
              <a:t>434-3 </a:t>
            </a:r>
            <a:endParaRPr lang="en-US" sz="1800" dirty="0" smtClean="0"/>
          </a:p>
          <a:p>
            <a:pPr lvl="0">
              <a:spcBef>
                <a:spcPts val="600"/>
              </a:spcBef>
            </a:pPr>
            <a:r>
              <a:rPr lang="en-US" sz="1800" dirty="0" smtClean="0"/>
              <a:t>Dilute </a:t>
            </a:r>
            <a:r>
              <a:rPr lang="en-US" sz="1800" dirty="0"/>
              <a:t>nitrogen dioxide – </a:t>
            </a:r>
            <a:r>
              <a:rPr lang="en-US" sz="1800" dirty="0" smtClean="0"/>
              <a:t>Drafting alternative procedure</a:t>
            </a:r>
            <a:endParaRPr lang="en-US" sz="1800" dirty="0"/>
          </a:p>
          <a:p>
            <a:pPr lvl="0">
              <a:spcBef>
                <a:spcPts val="600"/>
              </a:spcBef>
            </a:pPr>
            <a:r>
              <a:rPr lang="en-US" sz="1800" dirty="0"/>
              <a:t>Method housekeeping</a:t>
            </a:r>
          </a:p>
          <a:p>
            <a:pPr lvl="0">
              <a:spcBef>
                <a:spcPts val="600"/>
              </a:spcBef>
            </a:pPr>
            <a:r>
              <a:rPr lang="en-US" sz="1800" dirty="0"/>
              <a:t>Additional topics, if any </a:t>
            </a:r>
          </a:p>
          <a:p>
            <a:pPr lvl="0">
              <a:spcBef>
                <a:spcPts val="600"/>
              </a:spcBef>
            </a:pPr>
            <a:r>
              <a:rPr lang="en-US" sz="1800" dirty="0"/>
              <a:t>Set next meeting</a:t>
            </a:r>
          </a:p>
          <a:p>
            <a:pPr marL="0" lvl="0" indent="0">
              <a:spcBef>
                <a:spcPts val="600"/>
              </a:spcBef>
              <a:buNone/>
            </a:pPr>
            <a:endParaRPr lang="en-US" sz="1800"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
        <p:nvSpPr>
          <p:cNvPr id="5" name="Rectangle 2"/>
          <p:cNvSpPr>
            <a:spLocks noChangeArrowheads="1"/>
          </p:cNvSpPr>
          <p:nvPr/>
        </p:nvSpPr>
        <p:spPr bwMode="auto">
          <a:xfrm>
            <a:off x="10832513" y="13716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Tree>
    <p:extLst>
      <p:ext uri="{BB962C8B-B14F-4D97-AF65-F5344CB8AC3E}">
        <p14:creationId xmlns:p14="http://schemas.microsoft.com/office/powerpoint/2010/main" val="264877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STM Antitrust and Recording Policy</a:t>
            </a:r>
          </a:p>
        </p:txBody>
      </p:sp>
      <p:sp>
        <p:nvSpPr>
          <p:cNvPr id="3" name="Content Placeholder 2"/>
          <p:cNvSpPr>
            <a:spLocks noGrp="1"/>
          </p:cNvSpPr>
          <p:nvPr>
            <p:ph idx="1"/>
          </p:nvPr>
        </p:nvSpPr>
        <p:spPr/>
        <p:txBody>
          <a:bodyPr/>
          <a:lstStyle/>
          <a:p>
            <a:pPr marL="0" indent="0">
              <a:buNone/>
            </a:pPr>
            <a:r>
              <a:rPr lang="en-US" sz="1800" dirty="0"/>
              <a:t>ASTM International is a not-for-profit organization and developer of voluntary consensus standards. ASTMs leadership in international standards development is driven by the contributions of its members: more than 30,000 technical experts and business professionals representing 135 countries. </a:t>
            </a:r>
          </a:p>
          <a:p>
            <a:pPr marL="0" indent="0">
              <a:buNone/>
            </a:pPr>
            <a:r>
              <a:rPr lang="en-US" sz="1800" dirty="0"/>
              <a:t>The purpose of antitrust laws is to preserve economic competition in the marketplace by prohibiting, among other things, unreasonable restraints of trade. In ASTM activities, it is important to recognize that participants often represent competitive interests. Antitrust laws require that all competition be open and unrestricted. </a:t>
            </a:r>
          </a:p>
          <a:p>
            <a:pPr marL="0" indent="0">
              <a:buNone/>
            </a:pPr>
            <a:r>
              <a:rPr lang="en-US" sz="1800" dirty="0"/>
              <a:t>It is ASTMs policy, and the policy of each of its committees and subcommittees, to conduct all business and activity in full compliance with international, federal and state antitrust and competition laws. The ASTM Board of Directors has adopted an antitrust policy which is found in Section 19 of ASTM Regulations Governing Technical Committees. All members need to be aware of and compliant with this policy. The Regulations are accessible on the ASTM website http://www.astm.org/COMMIT/Regs.pdf</a:t>
            </a:r>
            <a:r>
              <a:rPr lang="en-US" sz="1800" dirty="0" smtClean="0"/>
              <a:t>).</a:t>
            </a:r>
            <a:endParaRPr lang="en-US" sz="1800" dirty="0"/>
          </a:p>
          <a:p>
            <a:pPr marL="0" indent="0">
              <a:buNone/>
            </a:pPr>
            <a:r>
              <a:rPr lang="en-US" sz="1800" dirty="0"/>
              <a:t>Electronic recording of ASTM meetings is prohibited. </a:t>
            </a:r>
          </a:p>
          <a:p>
            <a:pPr marL="0" indent="0">
              <a:buNone/>
            </a:pP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Tree>
    <p:extLst>
      <p:ext uri="{BB962C8B-B14F-4D97-AF65-F5344CB8AC3E}">
        <p14:creationId xmlns:p14="http://schemas.microsoft.com/office/powerpoint/2010/main" val="2507639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302088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2"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smtClean="0"/>
              <a:t>Membership</a:t>
            </a: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graphicFrame>
        <p:nvGraphicFramePr>
          <p:cNvPr id="5" name="Table Placeholder 3"/>
          <p:cNvGraphicFramePr>
            <a:graphicFrameLocks noGrp="1"/>
          </p:cNvGraphicFramePr>
          <p:nvPr>
            <p:ph idx="1"/>
            <p:extLst>
              <p:ext uri="{D42A27DB-BD31-4B8C-83A1-F6EECF244321}">
                <p14:modId xmlns:p14="http://schemas.microsoft.com/office/powerpoint/2010/main" val="3333045098"/>
              </p:ext>
            </p:extLst>
          </p:nvPr>
        </p:nvGraphicFramePr>
        <p:xfrm>
          <a:off x="442913" y="1371600"/>
          <a:ext cx="7620000" cy="4830189"/>
        </p:xfrm>
        <a:graphic>
          <a:graphicData uri="http://schemas.openxmlformats.org/drawingml/2006/table">
            <a:tbl>
              <a:tblPr>
                <a:tableStyleId>{616DA210-FB5B-4158-B5E0-FEB733F419BA}</a:tableStyleId>
              </a:tblPr>
              <a:tblGrid>
                <a:gridCol w="1836964"/>
                <a:gridCol w="5783036"/>
              </a:tblGrid>
              <a:tr h="273107">
                <a:tc>
                  <a:txBody>
                    <a:bodyPr/>
                    <a:lstStyle/>
                    <a:p>
                      <a:pPr marL="0" marR="0" hangingPunct="1">
                        <a:lnSpc>
                          <a:spcPct val="107000"/>
                        </a:lnSpc>
                        <a:spcBef>
                          <a:spcPts val="0"/>
                        </a:spcBef>
                        <a:spcAft>
                          <a:spcPts val="0"/>
                        </a:spcAft>
                      </a:pPr>
                      <a:r>
                        <a:rPr lang="en-US" sz="1200" kern="1200" dirty="0">
                          <a:effectLst/>
                        </a:rPr>
                        <a:t>Ace Glass</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smtClean="0">
                          <a:effectLst/>
                        </a:rPr>
                        <a:t>Dave Lawrence</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a:effectLst/>
                        </a:rPr>
                        <a:t>Afton</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Shelia Thompson, Jeff </a:t>
                      </a:r>
                      <a:r>
                        <a:rPr lang="en-US" sz="1200" kern="1200" dirty="0" smtClean="0">
                          <a:effectLst/>
                        </a:rPr>
                        <a:t>Yang, Todd Dvorak</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a:effectLst/>
                        </a:rPr>
                        <a:t>ASTM TMC</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Tom Schofield</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a:effectLst/>
                        </a:rPr>
                        <a:t>BASF</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Mary </a:t>
                      </a:r>
                      <a:r>
                        <a:rPr lang="en-US" sz="1200" kern="1200" dirty="0" err="1">
                          <a:effectLst/>
                        </a:rPr>
                        <a:t>Dery</a:t>
                      </a:r>
                      <a:r>
                        <a:rPr lang="en-US" sz="1200" kern="1200" dirty="0">
                          <a:effectLst/>
                        </a:rPr>
                        <a:t>, Bridgett </a:t>
                      </a:r>
                      <a:r>
                        <a:rPr lang="en-US" sz="1200" kern="1200" dirty="0" err="1">
                          <a:effectLst/>
                        </a:rPr>
                        <a:t>Rakestraw</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a:effectLst/>
                        </a:rPr>
                        <a:t>Chevron </a:t>
                      </a:r>
                      <a:r>
                        <a:rPr lang="en-US" sz="1200" kern="1200" dirty="0" err="1">
                          <a:effectLst/>
                        </a:rPr>
                        <a:t>Oronite</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smtClean="0">
                          <a:effectLst/>
                        </a:rPr>
                        <a:t>Man Hon Tsang, Robert Stockwell</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a:effectLst/>
                        </a:rPr>
                        <a:t>ExxonMobil</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Dennis </a:t>
                      </a:r>
                      <a:r>
                        <a:rPr lang="en-US" sz="1200" kern="1200" dirty="0" err="1">
                          <a:effectLst/>
                        </a:rPr>
                        <a:t>Gaal</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err="1">
                          <a:effectLst/>
                        </a:rPr>
                        <a:t>Infineum</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Andy Richie, </a:t>
                      </a:r>
                      <a:r>
                        <a:rPr lang="en-US" sz="1200" kern="1200" dirty="0" err="1">
                          <a:effectLst/>
                        </a:rPr>
                        <a:t>Sapna</a:t>
                      </a:r>
                      <a:r>
                        <a:rPr lang="en-US" sz="1200" kern="1200" dirty="0">
                          <a:effectLst/>
                        </a:rPr>
                        <a:t> </a:t>
                      </a:r>
                      <a:r>
                        <a:rPr lang="en-US" sz="1200" kern="1200" dirty="0" err="1">
                          <a:effectLst/>
                        </a:rPr>
                        <a:t>Eticala</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a:effectLst/>
                        </a:rPr>
                        <a:t>Intertek</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Joe Franklin, Matt </a:t>
                      </a:r>
                      <a:r>
                        <a:rPr lang="en-US" sz="1200" kern="1200" dirty="0" err="1">
                          <a:effectLst/>
                        </a:rPr>
                        <a:t>Schlaff</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a:effectLst/>
                        </a:rPr>
                        <a:t>Lubrizol</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smtClean="0">
                          <a:effectLst/>
                        </a:rPr>
                        <a:t>Mike </a:t>
                      </a:r>
                      <a:r>
                        <a:rPr lang="en-US" sz="1200" kern="1200" dirty="0" err="1" smtClean="0">
                          <a:effectLst/>
                        </a:rPr>
                        <a:t>Faile</a:t>
                      </a:r>
                      <a:r>
                        <a:rPr lang="en-US" sz="1200" kern="1200" dirty="0" smtClean="0">
                          <a:effectLst/>
                        </a:rPr>
                        <a:t>, </a:t>
                      </a:r>
                      <a:r>
                        <a:rPr lang="en-US" sz="1200" kern="1200" dirty="0">
                          <a:effectLst/>
                        </a:rPr>
                        <a:t>Aimee </a:t>
                      </a:r>
                      <a:r>
                        <a:rPr lang="en-US" sz="1200" kern="1200" dirty="0" err="1">
                          <a:effectLst/>
                        </a:rPr>
                        <a:t>Shinhearl</a:t>
                      </a:r>
                      <a:r>
                        <a:rPr lang="en-US" sz="1200" kern="1200" dirty="0">
                          <a:effectLst/>
                        </a:rPr>
                        <a:t>, Rick Hartman</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err="1">
                          <a:effectLst/>
                        </a:rPr>
                        <a:t>PetroChina</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Li </a:t>
                      </a:r>
                      <a:r>
                        <a:rPr lang="en-US" sz="1200" kern="1200" dirty="0" err="1">
                          <a:effectLst/>
                        </a:rPr>
                        <a:t>Shaohui</a:t>
                      </a:r>
                      <a:r>
                        <a:rPr lang="en-US" sz="1200" kern="1200" dirty="0">
                          <a:effectLst/>
                        </a:rPr>
                        <a:t> , Sun </a:t>
                      </a:r>
                      <a:r>
                        <a:rPr lang="en-US" sz="1200" kern="1200" dirty="0" err="1">
                          <a:effectLst/>
                        </a:rPr>
                        <a:t>Ruihua</a:t>
                      </a:r>
                      <a:r>
                        <a:rPr lang="en-US" sz="1200" kern="1200" dirty="0">
                          <a:effectLst/>
                        </a:rPr>
                        <a:t>, Peng Wang, </a:t>
                      </a:r>
                      <a:r>
                        <a:rPr lang="en-US" sz="1200" kern="1200" dirty="0" err="1">
                          <a:effectLst/>
                        </a:rPr>
                        <a:t>Xiaogang</a:t>
                      </a:r>
                      <a:r>
                        <a:rPr lang="en-US" sz="1200" kern="1200" dirty="0">
                          <a:effectLst/>
                        </a:rPr>
                        <a:t> Li, Xu Li</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317688">
                <a:tc>
                  <a:txBody>
                    <a:bodyPr/>
                    <a:lstStyle/>
                    <a:p>
                      <a:pPr marL="0" marR="0" hangingPunct="1">
                        <a:lnSpc>
                          <a:spcPct val="107000"/>
                        </a:lnSpc>
                        <a:spcBef>
                          <a:spcPts val="0"/>
                        </a:spcBef>
                        <a:spcAft>
                          <a:spcPts val="0"/>
                        </a:spcAft>
                      </a:pPr>
                      <a:r>
                        <a:rPr lang="en-US" sz="1200" kern="1200" dirty="0" err="1">
                          <a:effectLst/>
                        </a:rPr>
                        <a:t>Evonik</a:t>
                      </a:r>
                      <a:r>
                        <a:rPr lang="en-US" sz="1200" kern="1200" dirty="0">
                          <a:effectLst/>
                        </a:rPr>
                        <a:t> Oil Additives</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smtClean="0">
                          <a:effectLst/>
                        </a:rPr>
                        <a:t>Justin </a:t>
                      </a:r>
                      <a:r>
                        <a:rPr lang="en-US" sz="1200" kern="1200" dirty="0">
                          <a:effectLst/>
                        </a:rPr>
                        <a:t>Mills, Bruce Zweitzig, Joan </a:t>
                      </a:r>
                      <a:r>
                        <a:rPr lang="en-US" sz="1200" kern="1200" dirty="0" smtClean="0">
                          <a:effectLst/>
                        </a:rPr>
                        <a:t>Souchik, John Maxwell, Justin Kontra</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smtClean="0">
                          <a:effectLst/>
                        </a:rPr>
                        <a:t>Vanderbilt Chemicals</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Al Filho, Ron </a:t>
                      </a:r>
                      <a:r>
                        <a:rPr lang="en-US" sz="1200" kern="1200" dirty="0" smtClean="0">
                          <a:effectLst/>
                        </a:rPr>
                        <a:t>Hiza</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kern="1200" dirty="0" err="1">
                          <a:effectLst/>
                        </a:rPr>
                        <a:t>SwRI</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a:effectLst/>
                        </a:rPr>
                        <a:t>Becky Grinfield, Joe De La Cruz, Mike </a:t>
                      </a:r>
                      <a:r>
                        <a:rPr lang="en-US" sz="1200" kern="1200" dirty="0" smtClean="0">
                          <a:effectLst/>
                        </a:rPr>
                        <a:t>Birke, Yong-Li McFarland</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95891">
                <a:tc>
                  <a:txBody>
                    <a:bodyPr/>
                    <a:lstStyle/>
                    <a:p>
                      <a:pPr marL="0" marR="0" hangingPunct="1">
                        <a:lnSpc>
                          <a:spcPct val="107000"/>
                        </a:lnSpc>
                        <a:spcBef>
                          <a:spcPts val="0"/>
                        </a:spcBef>
                        <a:spcAft>
                          <a:spcPts val="0"/>
                        </a:spcAft>
                      </a:pPr>
                      <a:r>
                        <a:rPr lang="en-US" sz="1200" kern="1200" dirty="0" smtClean="0">
                          <a:effectLst/>
                        </a:rPr>
                        <a:t>Valvoline</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kern="1200" dirty="0" err="1">
                          <a:effectLst/>
                        </a:rPr>
                        <a:t>Amol</a:t>
                      </a:r>
                      <a:r>
                        <a:rPr lang="en-US" sz="1200" kern="1200" dirty="0">
                          <a:effectLst/>
                        </a:rPr>
                        <a:t> Savant, Kevin </a:t>
                      </a:r>
                      <a:r>
                        <a:rPr lang="en-US" sz="1200" kern="1200" dirty="0" err="1">
                          <a:effectLst/>
                        </a:rPr>
                        <a:t>Figgatt</a:t>
                      </a:r>
                      <a:r>
                        <a:rPr lang="en-US" sz="1200" kern="1200" dirty="0">
                          <a:effectLst/>
                        </a:rPr>
                        <a:t>, Steve </a:t>
                      </a:r>
                      <a:r>
                        <a:rPr lang="en-US" sz="1200" kern="1200" dirty="0" err="1">
                          <a:effectLst/>
                        </a:rPr>
                        <a:t>Lazzara</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87328">
                <a:tc>
                  <a:txBody>
                    <a:bodyPr/>
                    <a:lstStyle/>
                    <a:p>
                      <a:pPr marL="0" marR="0" hangingPunct="1">
                        <a:lnSpc>
                          <a:spcPct val="107000"/>
                        </a:lnSpc>
                        <a:spcBef>
                          <a:spcPts val="0"/>
                        </a:spcBef>
                        <a:spcAft>
                          <a:spcPts val="0"/>
                        </a:spcAft>
                      </a:pPr>
                      <a:r>
                        <a:rPr lang="en-US" sz="1200" dirty="0" smtClean="0">
                          <a:effectLst/>
                        </a:rPr>
                        <a:t>Koehler Instruments</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dirty="0" smtClean="0">
                          <a:effectLst/>
                        </a:rPr>
                        <a:t>Raj Shah, Vincent </a:t>
                      </a:r>
                      <a:r>
                        <a:rPr lang="en-US" sz="1200" dirty="0" err="1" smtClean="0">
                          <a:effectLst/>
                        </a:rPr>
                        <a:t>Colantuini</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dirty="0" err="1" smtClean="0">
                          <a:effectLst/>
                        </a:rPr>
                        <a:t>Tannas</a:t>
                      </a:r>
                      <a:r>
                        <a:rPr lang="en-US" sz="1200" dirty="0" smtClean="0">
                          <a:effectLst/>
                        </a:rPr>
                        <a:t>/Savant</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dirty="0" smtClean="0">
                          <a:effectLst/>
                        </a:rPr>
                        <a:t>Greg Miller, Ted Selby</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r h="273107">
                <a:tc>
                  <a:txBody>
                    <a:bodyPr/>
                    <a:lstStyle/>
                    <a:p>
                      <a:pPr marL="0" marR="0" hangingPunct="1">
                        <a:lnSpc>
                          <a:spcPct val="107000"/>
                        </a:lnSpc>
                        <a:spcBef>
                          <a:spcPts val="0"/>
                        </a:spcBef>
                        <a:spcAft>
                          <a:spcPts val="0"/>
                        </a:spcAft>
                      </a:pPr>
                      <a:r>
                        <a:rPr lang="en-US" sz="1200" dirty="0" smtClean="0">
                          <a:effectLst/>
                        </a:rPr>
                        <a:t>General</a:t>
                      </a:r>
                      <a:r>
                        <a:rPr lang="en-US" sz="1200" baseline="0" dirty="0" smtClean="0">
                          <a:effectLst/>
                        </a:rPr>
                        <a:t> Interest</a:t>
                      </a:r>
                      <a:endParaRPr lang="en-US" sz="1200" dirty="0">
                        <a:effectLst/>
                        <a:latin typeface="Calibri" panose="020F0502020204030204" pitchFamily="34" charset="0"/>
                        <a:ea typeface="Times New Roman" panose="02020603050405020304" pitchFamily="18" charset="0"/>
                      </a:endParaRPr>
                    </a:p>
                  </a:txBody>
                  <a:tcPr marL="84956" marR="84956" marT="42478" marB="42478"/>
                </a:tc>
                <a:tc>
                  <a:txBody>
                    <a:bodyPr/>
                    <a:lstStyle/>
                    <a:p>
                      <a:pPr marL="0" marR="0" hangingPunct="1">
                        <a:lnSpc>
                          <a:spcPct val="107000"/>
                        </a:lnSpc>
                        <a:spcBef>
                          <a:spcPts val="0"/>
                        </a:spcBef>
                        <a:spcAft>
                          <a:spcPts val="0"/>
                        </a:spcAft>
                      </a:pPr>
                      <a:r>
                        <a:rPr lang="en-US" sz="1200" dirty="0" smtClean="0">
                          <a:effectLst/>
                        </a:rPr>
                        <a:t>Alan Flamberg</a:t>
                      </a:r>
                      <a:endParaRPr lang="en-US" sz="1200" dirty="0">
                        <a:effectLst/>
                        <a:latin typeface="Calibri" panose="020F0502020204030204" pitchFamily="34" charset="0"/>
                        <a:ea typeface="Times New Roman" panose="02020603050405020304" pitchFamily="18" charset="0"/>
                      </a:endParaRPr>
                    </a:p>
                  </a:txBody>
                  <a:tcPr marL="84956" marR="84956" marT="42478" marB="42478"/>
                </a:tc>
              </a:tr>
            </a:tbl>
          </a:graphicData>
        </a:graphic>
      </p:graphicFrame>
      <p:sp>
        <p:nvSpPr>
          <p:cNvPr id="6" name="Content Placeholder 2"/>
          <p:cNvSpPr txBox="1">
            <a:spLocks/>
          </p:cNvSpPr>
          <p:nvPr/>
        </p:nvSpPr>
        <p:spPr>
          <a:xfrm>
            <a:off x="8305800" y="1371600"/>
            <a:ext cx="3441113" cy="4724400"/>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1200"/>
              </a:spcBef>
              <a:buFont typeface="Wingdings" panose="05000000000000000000" pitchFamily="2" charset="2"/>
              <a:buChar char="§"/>
              <a:defRPr sz="2000" kern="1200">
                <a:solidFill>
                  <a:schemeClr val="tx1"/>
                </a:solidFill>
                <a:latin typeface="Calibri" panose="020F0502020204030204" pitchFamily="34" charset="0"/>
                <a:ea typeface="+mn-ea"/>
                <a:cs typeface="+mn-cs"/>
              </a:defRPr>
            </a:lvl1pPr>
            <a:lvl2pPr marL="360000" indent="-180000" algn="l" defTabSz="914400" rtl="0" eaLnBrk="1" latinLnBrk="0" hangingPunct="1">
              <a:lnSpc>
                <a:spcPct val="100000"/>
              </a:lnSpc>
              <a:spcBef>
                <a:spcPts val="1200"/>
              </a:spcBef>
              <a:buFont typeface="Symbol" panose="05050102010706020507" pitchFamily="18" charset="2"/>
              <a:buChar char="-"/>
              <a:defRPr sz="1800" kern="1200">
                <a:solidFill>
                  <a:schemeClr val="tx1"/>
                </a:solidFill>
                <a:latin typeface="Calibri" panose="020F0502020204030204" pitchFamily="34" charset="0"/>
                <a:ea typeface="+mn-ea"/>
                <a:cs typeface="+mn-cs"/>
              </a:defRPr>
            </a:lvl2pPr>
            <a:lvl3pPr marL="54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3pPr>
            <a:lvl4pPr marL="72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4pPr>
            <a:lvl5pPr marL="90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5pPr>
            <a:lvl6pPr marL="108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6pPr>
            <a:lvl7pPr marL="126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7pPr>
            <a:lvl8pPr marL="1438275"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8pPr>
            <a:lvl9pPr marL="161925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9pPr>
          </a:lstStyle>
          <a:p>
            <a:pPr marL="0" indent="0">
              <a:buFont typeface="Wingdings" panose="05000000000000000000" pitchFamily="2" charset="2"/>
              <a:buNone/>
            </a:pPr>
            <a:r>
              <a:rPr lang="en-US" sz="1400" b="1" dirty="0" smtClean="0">
                <a:solidFill>
                  <a:prstClr val="black"/>
                </a:solidFill>
              </a:rPr>
              <a:t>Summary of changes:</a:t>
            </a:r>
          </a:p>
        </p:txBody>
      </p:sp>
    </p:spTree>
    <p:extLst>
      <p:ext uri="{BB962C8B-B14F-4D97-AF65-F5344CB8AC3E}">
        <p14:creationId xmlns:p14="http://schemas.microsoft.com/office/powerpoint/2010/main" val="2729461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ext uri="{D42A27DB-BD31-4B8C-83A1-F6EECF244321}">
                <p14:modId xmlns:p14="http://schemas.microsoft.com/office/powerpoint/2010/main" val="1039640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smtClean="0"/>
              <a:t>Motion to </a:t>
            </a:r>
            <a:r>
              <a:rPr lang="en-US" dirty="0"/>
              <a:t>a</a:t>
            </a:r>
            <a:r>
              <a:rPr lang="en-US" dirty="0" smtClean="0"/>
              <a:t>ccept June 20, 2019 meeting minutes</a:t>
            </a: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pic>
        <p:nvPicPr>
          <p:cNvPr id="12" name="Picture 11"/>
          <p:cNvPicPr>
            <a:picLocks/>
          </p:cNvPicPr>
          <p:nvPr/>
        </p:nvPicPr>
        <p:blipFill>
          <a:blip r:embed="rId8"/>
          <a:stretch>
            <a:fillRect/>
          </a:stretch>
        </p:blipFill>
        <p:spPr>
          <a:xfrm>
            <a:off x="442913" y="1388005"/>
            <a:ext cx="3566160" cy="4572000"/>
          </a:xfrm>
          <a:prstGeom prst="rect">
            <a:avLst/>
          </a:prstGeom>
          <a:ln>
            <a:solidFill>
              <a:schemeClr val="tx1"/>
            </a:solidFill>
          </a:ln>
        </p:spPr>
      </p:pic>
      <p:pic>
        <p:nvPicPr>
          <p:cNvPr id="13" name="Picture 12"/>
          <p:cNvPicPr>
            <a:picLocks/>
          </p:cNvPicPr>
          <p:nvPr/>
        </p:nvPicPr>
        <p:blipFill>
          <a:blip r:embed="rId9"/>
          <a:stretch>
            <a:fillRect/>
          </a:stretch>
        </p:blipFill>
        <p:spPr>
          <a:xfrm>
            <a:off x="4311833" y="1388005"/>
            <a:ext cx="3566160" cy="4572000"/>
          </a:xfrm>
          <a:prstGeom prst="rect">
            <a:avLst/>
          </a:prstGeom>
          <a:ln>
            <a:solidFill>
              <a:schemeClr val="tx1"/>
            </a:solidFill>
          </a:ln>
        </p:spPr>
      </p:pic>
    </p:spTree>
    <p:extLst>
      <p:ext uri="{BB962C8B-B14F-4D97-AF65-F5344CB8AC3E}">
        <p14:creationId xmlns:p14="http://schemas.microsoft.com/office/powerpoint/2010/main" val="400928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563999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86"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a:t>Actions from </a:t>
            </a:r>
            <a:r>
              <a:rPr lang="en-US" dirty="0" smtClean="0"/>
              <a:t>June 20</a:t>
            </a:r>
            <a:r>
              <a:rPr lang="en-US" baseline="30000" dirty="0" smtClean="0"/>
              <a:t>th</a:t>
            </a:r>
            <a:r>
              <a:rPr lang="en-US" dirty="0" smtClean="0"/>
              <a:t> meeting</a:t>
            </a:r>
            <a:endParaRPr lang="en-US" b="0" dirty="0"/>
          </a:p>
        </p:txBody>
      </p:sp>
      <p:sp>
        <p:nvSpPr>
          <p:cNvPr id="3" name="Content Placeholder 2"/>
          <p:cNvSpPr>
            <a:spLocks noGrp="1"/>
          </p:cNvSpPr>
          <p:nvPr>
            <p:ph idx="1"/>
          </p:nvPr>
        </p:nvSpPr>
        <p:spPr>
          <a:xfrm>
            <a:off x="876299" y="1371600"/>
            <a:ext cx="10870613" cy="4724400"/>
          </a:xfrm>
        </p:spPr>
        <p:txBody>
          <a:bodyPr/>
          <a:lstStyle/>
          <a:p>
            <a:pPr lvl="0"/>
            <a:r>
              <a:rPr lang="en-US" dirty="0" smtClean="0"/>
              <a:t>Justin </a:t>
            </a:r>
            <a:r>
              <a:rPr lang="en-US" dirty="0"/>
              <a:t>Mills and Tom Schofield to track the number of 438-2 runs. Once there are &gt;20 runs, the limits will be recalculated are shared with the SP. </a:t>
            </a:r>
          </a:p>
          <a:p>
            <a:pPr lvl="0"/>
            <a:r>
              <a:rPr lang="en-US" dirty="0" smtClean="0"/>
              <a:t>Tom </a:t>
            </a:r>
            <a:r>
              <a:rPr lang="en-US" dirty="0"/>
              <a:t>Schofield to ask TMC 434-3 supplier if it is okay to conduct low temperature screening on it (MRV, Scanning Brookfield), so we can better understand why it is exhibiting yield stress.</a:t>
            </a:r>
          </a:p>
          <a:p>
            <a:pPr lvl="0"/>
            <a:r>
              <a:rPr lang="en-US" dirty="0" smtClean="0"/>
              <a:t>Justin </a:t>
            </a:r>
            <a:r>
              <a:rPr lang="en-US" dirty="0"/>
              <a:t>Mills and Matt Schlaff to draft procedure for introducing dilute NO2. Additionally, SP members were encouraged to review the current D7528 method and provide feedback on best approach to drafting the alternative method.</a:t>
            </a:r>
          </a:p>
          <a:p>
            <a:pPr lvl="0"/>
            <a:r>
              <a:rPr lang="en-US" dirty="0" smtClean="0"/>
              <a:t>Justin </a:t>
            </a:r>
            <a:r>
              <a:rPr lang="en-US" dirty="0"/>
              <a:t>Mills to schedule next SP meeting for Thursday, August 8th. </a:t>
            </a:r>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sp>
        <p:nvSpPr>
          <p:cNvPr id="10" name="Rectangle 1"/>
          <p:cNvSpPr>
            <a:spLocks noChangeArrowheads="1"/>
          </p:cNvSpPr>
          <p:nvPr/>
        </p:nvSpPr>
        <p:spPr bwMode="auto">
          <a:xfrm>
            <a:off x="442400" y="3854684"/>
            <a:ext cx="365760"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en-US" sz="2400" b="0" i="0" u="none" strike="noStrike" cap="none" normalizeH="0" baseline="0" dirty="0" smtClean="0">
                <a:ln>
                  <a:noFill/>
                </a:ln>
                <a:solidFill>
                  <a:srgbClr val="FF0000"/>
                </a:solidFill>
                <a:effectLst/>
                <a:latin typeface="MS Gothic" panose="020B0609070205080204" pitchFamily="49" charset="-128"/>
                <a:ea typeface="MS Gothic" panose="020B0609070205080204" pitchFamily="49" charset="-128"/>
                <a:cs typeface="Arial" panose="020B0604020202020204" pitchFamily="34" charset="0"/>
              </a:rPr>
              <a:t>☒</a:t>
            </a:r>
            <a:endParaRPr kumimoji="0" lang="en-GB" altLang="en-US" sz="4000" b="0" i="0" u="none" strike="noStrike" cap="none" normalizeH="0" baseline="0" dirty="0" smtClean="0">
              <a:ln>
                <a:noFill/>
              </a:ln>
              <a:solidFill>
                <a:srgbClr val="FF0000"/>
              </a:solidFill>
              <a:effectLst/>
              <a:latin typeface="Arial" panose="020B0604020202020204" pitchFamily="34" charset="0"/>
            </a:endParaRPr>
          </a:p>
        </p:txBody>
      </p:sp>
      <p:sp>
        <p:nvSpPr>
          <p:cNvPr id="14" name="Rectangle 1"/>
          <p:cNvSpPr>
            <a:spLocks noChangeArrowheads="1"/>
          </p:cNvSpPr>
          <p:nvPr/>
        </p:nvSpPr>
        <p:spPr bwMode="auto">
          <a:xfrm>
            <a:off x="437047" y="1331163"/>
            <a:ext cx="3657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0" i="0" u="none" strike="noStrike" cap="none" normalizeH="0" baseline="0" dirty="0" smtClean="0">
                <a:ln>
                  <a:noFill/>
                </a:ln>
                <a:solidFill>
                  <a:srgbClr val="FF0000"/>
                </a:solidFill>
                <a:effectLst/>
                <a:latin typeface="Arial" panose="020B0604020202020204" pitchFamily="34" charset="0"/>
                <a:ea typeface="MS Gothic" panose="020B0609070205080204" pitchFamily="49" charset="-128"/>
                <a:cs typeface="Segoe UI Symbol" panose="020B0502040204020203" pitchFamily="34" charset="0"/>
              </a:rPr>
              <a:t>☐</a:t>
            </a:r>
            <a:endParaRPr kumimoji="0" lang="en-GB" altLang="en-US" sz="4000" b="0" i="0" u="none" strike="noStrike" cap="none" normalizeH="0" baseline="0" dirty="0" smtClean="0">
              <a:ln>
                <a:noFill/>
              </a:ln>
              <a:solidFill>
                <a:srgbClr val="FF0000"/>
              </a:solidFill>
              <a:effectLst/>
              <a:latin typeface="Arial" panose="020B0604020202020204" pitchFamily="34" charset="0"/>
            </a:endParaRPr>
          </a:p>
        </p:txBody>
      </p:sp>
      <p:sp>
        <p:nvSpPr>
          <p:cNvPr id="16" name="Rectangle 1"/>
          <p:cNvSpPr>
            <a:spLocks noChangeArrowheads="1"/>
          </p:cNvSpPr>
          <p:nvPr/>
        </p:nvSpPr>
        <p:spPr bwMode="auto">
          <a:xfrm>
            <a:off x="437047" y="2086222"/>
            <a:ext cx="3657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0" i="0" u="none" strike="noStrike" cap="none" normalizeH="0" baseline="0" dirty="0" smtClean="0">
                <a:ln>
                  <a:noFill/>
                </a:ln>
                <a:solidFill>
                  <a:srgbClr val="FF0000"/>
                </a:solidFill>
                <a:effectLst/>
                <a:latin typeface="Arial" panose="020B0604020202020204" pitchFamily="34" charset="0"/>
                <a:ea typeface="MS Gothic" panose="020B0609070205080204" pitchFamily="49" charset="-128"/>
                <a:cs typeface="Segoe UI Symbol" panose="020B0502040204020203" pitchFamily="34" charset="0"/>
              </a:rPr>
              <a:t>☐</a:t>
            </a:r>
            <a:endParaRPr kumimoji="0" lang="en-GB" altLang="en-US" sz="4000" b="0" i="0" u="none" strike="noStrike" cap="none" normalizeH="0" baseline="0" dirty="0" smtClean="0">
              <a:ln>
                <a:noFill/>
              </a:ln>
              <a:solidFill>
                <a:srgbClr val="FF0000"/>
              </a:solidFill>
              <a:effectLst/>
              <a:latin typeface="Arial" panose="020B0604020202020204" pitchFamily="34" charset="0"/>
            </a:endParaRPr>
          </a:p>
        </p:txBody>
      </p:sp>
      <p:sp>
        <p:nvSpPr>
          <p:cNvPr id="17" name="Rectangle 1"/>
          <p:cNvSpPr>
            <a:spLocks noChangeArrowheads="1"/>
          </p:cNvSpPr>
          <p:nvPr/>
        </p:nvSpPr>
        <p:spPr bwMode="auto">
          <a:xfrm>
            <a:off x="436725" y="2841281"/>
            <a:ext cx="365760"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400" b="0" i="0" u="none" strike="noStrike" cap="none" normalizeH="0" baseline="0" dirty="0" smtClean="0">
                <a:ln>
                  <a:noFill/>
                </a:ln>
                <a:solidFill>
                  <a:srgbClr val="FF0000"/>
                </a:solidFill>
                <a:effectLst/>
                <a:latin typeface="Arial" panose="020B0604020202020204" pitchFamily="34" charset="0"/>
                <a:ea typeface="MS Gothic" panose="020B0609070205080204" pitchFamily="49" charset="-128"/>
                <a:cs typeface="Segoe UI Symbol" panose="020B0502040204020203" pitchFamily="34" charset="0"/>
              </a:rPr>
              <a:t>☐</a:t>
            </a:r>
            <a:endParaRPr kumimoji="0" lang="en-GB" altLang="en-US" sz="4000" b="0" i="0" u="none" strike="noStrike" cap="none" normalizeH="0" baseline="0" dirty="0" smtClean="0">
              <a:ln>
                <a:noFill/>
              </a:ln>
              <a:solidFill>
                <a:srgbClr val="FF0000"/>
              </a:solidFill>
              <a:effectLst/>
              <a:latin typeface="Arial" panose="020B0604020202020204" pitchFamily="34" charset="0"/>
            </a:endParaRPr>
          </a:p>
        </p:txBody>
      </p:sp>
    </p:spTree>
    <p:extLst>
      <p:ext uri="{BB962C8B-B14F-4D97-AF65-F5344CB8AC3E}">
        <p14:creationId xmlns:p14="http://schemas.microsoft.com/office/powerpoint/2010/main" val="1809744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390873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9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pPr lvl="0" eaLnBrk="0" fontAlgn="base" hangingPunct="0">
              <a:lnSpc>
                <a:spcPct val="100000"/>
              </a:lnSpc>
              <a:spcAft>
                <a:spcPct val="0"/>
              </a:spcAft>
            </a:pPr>
            <a:r>
              <a:rPr lang="en-US" altLang="en-US" dirty="0">
                <a:solidFill>
                  <a:srgbClr val="000000"/>
                </a:solidFill>
              </a:rPr>
              <a:t>ROBO Industry </a:t>
            </a:r>
            <a:r>
              <a:rPr lang="en-US" altLang="en-US" dirty="0" smtClean="0">
                <a:solidFill>
                  <a:srgbClr val="000000"/>
                </a:solidFill>
              </a:rPr>
              <a:t>Statistics</a:t>
            </a:r>
            <a:endParaRPr lang="en-US" altLang="en-US" dirty="0"/>
          </a:p>
        </p:txBody>
      </p:sp>
      <p:sp>
        <p:nvSpPr>
          <p:cNvPr id="4" name="Footer Placeholder 3"/>
          <p:cNvSpPr>
            <a:spLocks noGrp="1"/>
          </p:cNvSpPr>
          <p:nvPr>
            <p:ph type="ftr" sz="quarter" idx="11"/>
          </p:nvPr>
        </p:nvSpPr>
        <p:spPr/>
        <p:txBody>
          <a:bodyPr/>
          <a:lstStyle/>
          <a:p>
            <a:r>
              <a:rPr lang="en-US" noProof="0" smtClean="0">
                <a:solidFill>
                  <a:prstClr val="black"/>
                </a:solidFill>
              </a:rPr>
              <a:t>ROBO SP Meeting - August 2019</a:t>
            </a:r>
            <a:endParaRPr lang="en-US" noProof="0" dirty="0">
              <a:solidFill>
                <a:prstClr val="black"/>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55429616"/>
              </p:ext>
            </p:extLst>
          </p:nvPr>
        </p:nvGraphicFramePr>
        <p:xfrm>
          <a:off x="442913" y="1371600"/>
          <a:ext cx="11299908" cy="4699773"/>
        </p:xfrm>
        <a:graphic>
          <a:graphicData uri="http://schemas.openxmlformats.org/drawingml/2006/table">
            <a:tbl>
              <a:tblPr firstRow="1">
                <a:tableStyleId>{5C22544A-7EE6-4342-B048-85BDC9FD1C3A}</a:tableStyleId>
              </a:tblPr>
              <a:tblGrid>
                <a:gridCol w="2468880"/>
                <a:gridCol w="690108"/>
                <a:gridCol w="1257857"/>
                <a:gridCol w="1257857"/>
                <a:gridCol w="1257857"/>
                <a:gridCol w="4367349"/>
              </a:tblGrid>
              <a:tr h="660549">
                <a:tc>
                  <a:txBody>
                    <a:bodyPr/>
                    <a:lstStyle/>
                    <a:p>
                      <a:pPr algn="l" fontAlgn="b"/>
                      <a:r>
                        <a:rPr lang="en-US" sz="1600" u="none" strike="noStrike" dirty="0" smtClean="0">
                          <a:solidFill>
                            <a:schemeClr val="tx1"/>
                          </a:solidFill>
                          <a:effectLst/>
                        </a:rPr>
                        <a:t>Period</a:t>
                      </a:r>
                      <a:endParaRPr lang="en-US" sz="1600" b="1" i="0" u="none" strike="noStrike" dirty="0">
                        <a:solidFill>
                          <a:schemeClr val="tx1"/>
                        </a:solidFill>
                        <a:effectLst/>
                        <a:latin typeface="Calibri" panose="020F0502020204030204" pitchFamily="34" charset="0"/>
                      </a:endParaRPr>
                    </a:p>
                  </a:txBody>
                  <a:tcPr marL="9525" marR="9525" marT="9525" marB="0" anchor="ctr"/>
                </a:tc>
                <a:tc>
                  <a:txBody>
                    <a:bodyPr/>
                    <a:lstStyle/>
                    <a:p>
                      <a:pPr algn="l" fontAlgn="b"/>
                      <a:r>
                        <a:rPr lang="en-US" sz="1600" u="none" strike="noStrike" dirty="0" smtClean="0">
                          <a:solidFill>
                            <a:schemeClr val="tx1"/>
                          </a:solidFill>
                          <a:effectLst/>
                        </a:rPr>
                        <a:t>N-size</a:t>
                      </a:r>
                      <a:endParaRPr lang="en-US" sz="1600" b="1" i="0" u="none" strike="noStrike" dirty="0">
                        <a:solidFill>
                          <a:schemeClr val="tx1"/>
                        </a:solidFill>
                        <a:effectLst/>
                        <a:latin typeface="Calibri" panose="020F0502020204030204" pitchFamily="34" charset="0"/>
                      </a:endParaRPr>
                    </a:p>
                  </a:txBody>
                  <a:tcPr marL="9525" marR="9525" marT="9525" marB="0" anchor="ctr"/>
                </a:tc>
                <a:tc>
                  <a:txBody>
                    <a:bodyPr/>
                    <a:lstStyle/>
                    <a:p>
                      <a:pPr algn="l" fontAlgn="b"/>
                      <a:r>
                        <a:rPr lang="en-US" sz="1600" u="none" strike="noStrike" dirty="0">
                          <a:solidFill>
                            <a:schemeClr val="tx1"/>
                          </a:solidFill>
                          <a:effectLst/>
                        </a:rPr>
                        <a:t>Degrees of Freedom</a:t>
                      </a:r>
                      <a:endParaRPr lang="en-US" sz="1600" b="1" i="0" u="none" strike="noStrike" dirty="0">
                        <a:solidFill>
                          <a:schemeClr val="tx1"/>
                        </a:solidFill>
                        <a:effectLst/>
                        <a:latin typeface="Calibri" panose="020F0502020204030204" pitchFamily="34" charset="0"/>
                      </a:endParaRPr>
                    </a:p>
                  </a:txBody>
                  <a:tcPr marL="9525" marR="9525" marT="9525" marB="0" anchor="ctr"/>
                </a:tc>
                <a:tc>
                  <a:txBody>
                    <a:bodyPr/>
                    <a:lstStyle/>
                    <a:p>
                      <a:pPr algn="l" fontAlgn="b"/>
                      <a:r>
                        <a:rPr lang="en-US" sz="1600" u="none" strike="noStrike" dirty="0">
                          <a:solidFill>
                            <a:schemeClr val="tx1"/>
                          </a:solidFill>
                          <a:effectLst/>
                        </a:rPr>
                        <a:t>Pooled s</a:t>
                      </a:r>
                      <a:endParaRPr lang="en-US" sz="1600" b="1" i="0" u="none" strike="noStrike" dirty="0">
                        <a:solidFill>
                          <a:schemeClr val="tx1"/>
                        </a:solidFill>
                        <a:effectLst/>
                        <a:latin typeface="Calibri" panose="020F0502020204030204" pitchFamily="34" charset="0"/>
                      </a:endParaRPr>
                    </a:p>
                  </a:txBody>
                  <a:tcPr marL="9525" marR="9525" marT="9525" marB="0" anchor="ctr"/>
                </a:tc>
                <a:tc>
                  <a:txBody>
                    <a:bodyPr/>
                    <a:lstStyle/>
                    <a:p>
                      <a:pPr algn="l" fontAlgn="b"/>
                      <a:r>
                        <a:rPr lang="en-US" sz="1600" u="none" strike="noStrike" dirty="0" smtClean="0">
                          <a:solidFill>
                            <a:schemeClr val="tx1"/>
                          </a:solidFill>
                          <a:effectLst/>
                        </a:rPr>
                        <a:t>Mean </a:t>
                      </a:r>
                      <a:r>
                        <a:rPr lang="el-GR" sz="1600" u="none" strike="noStrike" dirty="0" smtClean="0">
                          <a:solidFill>
                            <a:schemeClr val="tx1"/>
                          </a:solidFill>
                          <a:effectLst/>
                        </a:rPr>
                        <a:t>Δ</a:t>
                      </a:r>
                      <a:r>
                        <a:rPr lang="en-US" sz="1600" u="none" strike="noStrike" dirty="0" smtClean="0">
                          <a:solidFill>
                            <a:schemeClr val="tx1"/>
                          </a:solidFill>
                          <a:effectLst/>
                        </a:rPr>
                        <a:t>/s</a:t>
                      </a:r>
                      <a:endParaRPr lang="en-US" sz="1600" b="1" i="0" u="none" strike="noStrike" dirty="0">
                        <a:solidFill>
                          <a:schemeClr val="tx1"/>
                        </a:solidFill>
                        <a:effectLst/>
                        <a:latin typeface="Calibri" panose="020F0502020204030204" pitchFamily="34" charset="0"/>
                      </a:endParaRPr>
                    </a:p>
                  </a:txBody>
                  <a:tcPr marL="9525" marR="9525" marT="9525" marB="0" anchor="ctr"/>
                </a:tc>
                <a:tc>
                  <a:txBody>
                    <a:bodyPr/>
                    <a:lstStyle/>
                    <a:p>
                      <a:pPr algn="l" fontAlgn="b"/>
                      <a:r>
                        <a:rPr lang="en-US" sz="1600" u="none" strike="noStrike" dirty="0" smtClean="0">
                          <a:solidFill>
                            <a:schemeClr val="tx1"/>
                          </a:solidFill>
                          <a:effectLst/>
                        </a:rPr>
                        <a:t>Comments</a:t>
                      </a:r>
                      <a:endParaRPr lang="en-US" sz="1600" b="1" i="0" u="none" strike="noStrike" dirty="0">
                        <a:solidFill>
                          <a:schemeClr val="tx1"/>
                        </a:solidFill>
                        <a:effectLst/>
                        <a:latin typeface="Calibri" panose="020F0502020204030204" pitchFamily="34" charset="0"/>
                      </a:endParaRPr>
                    </a:p>
                  </a:txBody>
                  <a:tcPr marL="9525" marR="9525" marT="9525" marB="0" anchor="ctr"/>
                </a:tc>
              </a:tr>
              <a:tr h="336602">
                <a:tc>
                  <a:txBody>
                    <a:bodyPr/>
                    <a:lstStyle/>
                    <a:p>
                      <a:pPr algn="l" fontAlgn="b"/>
                      <a:r>
                        <a:rPr lang="en-US" sz="1600" u="none" strike="noStrike" dirty="0" smtClean="0">
                          <a:effectLst/>
                          <a:latin typeface="+mj-lt"/>
                        </a:rPr>
                        <a:t>Current Targets</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49</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4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1945</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a:t>
                      </a:r>
                      <a:endParaRPr lang="en-US" sz="1600" b="0" i="0" u="none" strike="noStrike" dirty="0">
                        <a:solidFill>
                          <a:srgbClr val="000000"/>
                        </a:solidFill>
                        <a:effectLst/>
                        <a:latin typeface="+mj-lt"/>
                      </a:endParaRPr>
                    </a:p>
                  </a:txBody>
                  <a:tcPr marL="9525" marR="9525" marT="9525" marB="0" anchor="ctr"/>
                </a:tc>
                <a:tc>
                  <a:txBody>
                    <a:bodyPr/>
                    <a:lstStyle/>
                    <a:p>
                      <a:pPr algn="l" fontAlgn="b"/>
                      <a:endParaRPr lang="en-US" sz="1600" b="0" i="0" u="none" strike="noStrike" dirty="0">
                        <a:solidFill>
                          <a:srgbClr val="000000"/>
                        </a:solidFill>
                        <a:effectLst/>
                        <a:latin typeface="+mj-lt"/>
                      </a:endParaRPr>
                    </a:p>
                  </a:txBody>
                  <a:tcPr marL="9525" marR="9525" marT="9525" marB="0" anchor="ctr"/>
                </a:tc>
              </a:tr>
              <a:tr h="336602">
                <a:tc>
                  <a:txBody>
                    <a:bodyPr/>
                    <a:lstStyle/>
                    <a:p>
                      <a:pPr algn="l" fontAlgn="b"/>
                      <a:r>
                        <a:rPr lang="en-US" sz="1600" u="none" strike="noStrike" dirty="0" smtClean="0">
                          <a:effectLst/>
                          <a:latin typeface="+mj-lt"/>
                        </a:rPr>
                        <a:t>10/1/15 through 3/31/1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92</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89</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0.4115</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a:t>
                      </a:r>
                      <a:r>
                        <a:rPr lang="en-US" sz="1600" u="none" strike="noStrike" dirty="0" smtClean="0">
                          <a:effectLst/>
                          <a:latin typeface="+mj-lt"/>
                        </a:rPr>
                        <a:t>0.10</a:t>
                      </a:r>
                      <a:endParaRPr lang="en-US" sz="1600" b="0" i="0" u="none" strike="noStrike" dirty="0">
                        <a:solidFill>
                          <a:srgbClr val="000000"/>
                        </a:solidFill>
                        <a:effectLst/>
                        <a:latin typeface="+mj-lt"/>
                      </a:endParaRPr>
                    </a:p>
                  </a:txBody>
                  <a:tcPr marL="9525" marR="9525" marT="9525" marB="0" anchor="ctr"/>
                </a:tc>
                <a:tc rowSpan="2">
                  <a:txBody>
                    <a:bodyPr/>
                    <a:lstStyle/>
                    <a:p>
                      <a:pPr algn="l" fontAlgn="b"/>
                      <a:r>
                        <a:rPr lang="en-US" sz="1600" dirty="0" smtClean="0">
                          <a:latin typeface="+mj-lt"/>
                        </a:rPr>
                        <a:t>Period statistics with and without one extreme result included</a:t>
                      </a:r>
                      <a:endParaRPr lang="en-US" sz="1600" b="0" i="0" u="none" strike="noStrike" dirty="0">
                        <a:solidFill>
                          <a:srgbClr val="000000"/>
                        </a:solidFill>
                        <a:effectLst/>
                        <a:latin typeface="+mj-lt"/>
                      </a:endParaRPr>
                    </a:p>
                  </a:txBody>
                  <a:tcPr marL="9525" marR="9525" marT="9525" marB="0" anchor="ctr"/>
                </a:tc>
              </a:tr>
              <a:tr h="336602">
                <a:tc>
                  <a:txBody>
                    <a:bodyPr/>
                    <a:lstStyle/>
                    <a:p>
                      <a:pPr algn="l" fontAlgn="b"/>
                      <a:r>
                        <a:rPr lang="en-US" sz="1600" u="none" strike="noStrike" dirty="0" smtClean="0">
                          <a:effectLst/>
                          <a:latin typeface="+mj-lt"/>
                        </a:rPr>
                        <a:t>10/1/15 through 3/31/1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91</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88</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3661</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20</a:t>
                      </a:r>
                      <a:endParaRPr lang="en-US" sz="1600" b="0" i="0" u="none" strike="noStrike" dirty="0">
                        <a:solidFill>
                          <a:srgbClr val="000000"/>
                        </a:solidFill>
                        <a:effectLst/>
                        <a:latin typeface="+mj-lt"/>
                      </a:endParaRPr>
                    </a:p>
                  </a:txBody>
                  <a:tcPr marL="9525" marR="9525" marT="9525" marB="0" anchor="ctr"/>
                </a:tc>
                <a:tc vMerge="1">
                  <a:txBody>
                    <a:bodyPr/>
                    <a:lstStyle/>
                    <a:p>
                      <a:pPr algn="ctr" fontAlgn="b"/>
                      <a:endParaRPr lang="en-US" sz="1600" b="0" i="0" u="none" strike="noStrike" dirty="0">
                        <a:solidFill>
                          <a:srgbClr val="000000"/>
                        </a:solidFill>
                        <a:effectLst/>
                        <a:latin typeface="Calibri" panose="020F0502020204030204" pitchFamily="34" charset="0"/>
                      </a:endParaRPr>
                    </a:p>
                  </a:txBody>
                  <a:tcPr marL="9525" marR="9525" marT="9525" marB="0" anchor="b"/>
                </a:tc>
              </a:tr>
              <a:tr h="336602">
                <a:tc>
                  <a:txBody>
                    <a:bodyPr/>
                    <a:lstStyle/>
                    <a:p>
                      <a:pPr algn="l" fontAlgn="b"/>
                      <a:r>
                        <a:rPr lang="en-US" sz="1600" u="none" strike="noStrike" dirty="0" smtClean="0">
                          <a:effectLst/>
                          <a:latin typeface="+mj-lt"/>
                        </a:rPr>
                        <a:t>4/1/16 through 9/30/1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74</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71</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3152</a:t>
                      </a:r>
                      <a:endParaRPr lang="en-US" sz="1600" b="0" i="0" u="none" strike="noStrike" dirty="0" smtClean="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a:t>
                      </a:r>
                      <a:r>
                        <a:rPr lang="en-US" sz="1600" u="none" strike="noStrike" dirty="0" smtClean="0">
                          <a:effectLst/>
                          <a:latin typeface="+mj-lt"/>
                        </a:rPr>
                        <a:t>0.53</a:t>
                      </a:r>
                      <a:endParaRPr lang="en-US" sz="1600" b="0" i="0" u="none" strike="noStrike" dirty="0">
                        <a:solidFill>
                          <a:srgbClr val="000000"/>
                        </a:solidFill>
                        <a:effectLst/>
                        <a:latin typeface="+mj-lt"/>
                      </a:endParaRPr>
                    </a:p>
                  </a:txBody>
                  <a:tcPr marL="9525" marR="9525" marT="9525" marB="0" anchor="ctr"/>
                </a:tc>
                <a:tc>
                  <a:txBody>
                    <a:bodyPr/>
                    <a:lstStyle/>
                    <a:p>
                      <a:pPr algn="l" fontAlgn="b"/>
                      <a:endParaRPr lang="en-US" sz="1600" b="0" i="0" u="none" strike="noStrike" dirty="0">
                        <a:solidFill>
                          <a:srgbClr val="000000"/>
                        </a:solidFill>
                        <a:effectLst/>
                        <a:latin typeface="+mj-lt"/>
                      </a:endParaRPr>
                    </a:p>
                  </a:txBody>
                  <a:tcPr marL="9525" marR="9525" marT="9525" marB="0" anchor="ctr"/>
                </a:tc>
              </a:tr>
              <a:tr h="336602">
                <a:tc>
                  <a:txBody>
                    <a:bodyPr/>
                    <a:lstStyle/>
                    <a:p>
                      <a:pPr algn="l" fontAlgn="b"/>
                      <a:r>
                        <a:rPr lang="en-US" sz="1600" u="none" strike="noStrike" dirty="0" smtClean="0">
                          <a:effectLst/>
                          <a:latin typeface="+mj-lt"/>
                        </a:rPr>
                        <a:t>10/1/16 through 3/31/17</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78</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75</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0.2771</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a:t>
                      </a:r>
                      <a:r>
                        <a:rPr lang="en-US" sz="1600" u="none" strike="noStrike" dirty="0" smtClean="0">
                          <a:effectLst/>
                          <a:latin typeface="+mj-lt"/>
                        </a:rPr>
                        <a:t>0.91</a:t>
                      </a:r>
                      <a:endParaRPr lang="en-US" sz="1600" b="0" i="0" u="none" strike="noStrike" dirty="0">
                        <a:solidFill>
                          <a:srgbClr val="000000"/>
                        </a:solidFill>
                        <a:effectLst/>
                        <a:latin typeface="+mj-lt"/>
                      </a:endParaRPr>
                    </a:p>
                  </a:txBody>
                  <a:tcPr marL="9525" marR="9525" marT="9525" marB="0" anchor="ctr"/>
                </a:tc>
                <a:tc>
                  <a:txBody>
                    <a:bodyPr/>
                    <a:lstStyle/>
                    <a:p>
                      <a:pPr algn="l" fontAlgn="b"/>
                      <a:endParaRPr lang="en-US" sz="1600" b="0" i="0" u="none" strike="noStrike" dirty="0">
                        <a:solidFill>
                          <a:srgbClr val="000000"/>
                        </a:solidFill>
                        <a:effectLst/>
                        <a:latin typeface="+mj-lt"/>
                      </a:endParaRPr>
                    </a:p>
                  </a:txBody>
                  <a:tcPr marL="9525" marR="9525" marT="9525" marB="0" anchor="ctr"/>
                </a:tc>
              </a:tr>
              <a:tr h="336602">
                <a:tc>
                  <a:txBody>
                    <a:bodyPr/>
                    <a:lstStyle/>
                    <a:p>
                      <a:pPr algn="l" fontAlgn="b"/>
                      <a:r>
                        <a:rPr lang="en-US" sz="1600" u="none" strike="noStrike" dirty="0" smtClean="0">
                          <a:effectLst/>
                          <a:latin typeface="+mj-lt"/>
                        </a:rPr>
                        <a:t>4/1/17 through 9/30/17</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99</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95</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0.2220</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a:effectLst/>
                          <a:latin typeface="+mj-lt"/>
                        </a:rPr>
                        <a:t>-</a:t>
                      </a:r>
                      <a:r>
                        <a:rPr lang="en-US" sz="1600" u="none" strike="noStrike" dirty="0" smtClean="0">
                          <a:effectLst/>
                          <a:latin typeface="+mj-lt"/>
                        </a:rPr>
                        <a:t>0.76</a:t>
                      </a:r>
                      <a:endParaRPr lang="en-US" sz="1600" b="0" i="0" u="none" strike="noStrike" dirty="0">
                        <a:solidFill>
                          <a:srgbClr val="000000"/>
                        </a:solidFill>
                        <a:effectLst/>
                        <a:latin typeface="+mj-lt"/>
                      </a:endParaRPr>
                    </a:p>
                  </a:txBody>
                  <a:tcPr marL="9525" marR="9525" marT="9525" marB="0" anchor="ctr"/>
                </a:tc>
                <a:tc>
                  <a:txBody>
                    <a:bodyPr/>
                    <a:lstStyle/>
                    <a:p>
                      <a:pPr algn="l" fontAlgn="b"/>
                      <a:endParaRPr lang="en-US" sz="1600" b="0" i="0" u="none" strike="noStrike" dirty="0">
                        <a:solidFill>
                          <a:srgbClr val="000000"/>
                        </a:solidFill>
                        <a:effectLst/>
                        <a:latin typeface="+mj-lt"/>
                      </a:endParaRPr>
                    </a:p>
                  </a:txBody>
                  <a:tcPr marL="9525" marR="9525" marT="9525" marB="0" anchor="ctr"/>
                </a:tc>
              </a:tr>
              <a:tr h="336602">
                <a:tc>
                  <a:txBody>
                    <a:bodyPr/>
                    <a:lstStyle/>
                    <a:p>
                      <a:pPr algn="l" fontAlgn="b"/>
                      <a:r>
                        <a:rPr lang="en-US" sz="1600" u="none" strike="noStrike" dirty="0" smtClean="0">
                          <a:effectLst/>
                          <a:latin typeface="+mj-lt"/>
                        </a:rPr>
                        <a:t>10/1/17 through 3/31/18**</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90</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8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237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91</a:t>
                      </a:r>
                      <a:endParaRPr lang="en-US" sz="1600" b="0" i="0" u="none" strike="noStrike" dirty="0">
                        <a:solidFill>
                          <a:srgbClr val="000000"/>
                        </a:solidFill>
                        <a:effectLst/>
                        <a:latin typeface="+mj-lt"/>
                      </a:endParaRPr>
                    </a:p>
                  </a:txBody>
                  <a:tcPr marL="9525" marR="9525" marT="9525" marB="0" anchor="ctr"/>
                </a:tc>
                <a:tc rowSpan="2">
                  <a:txBody>
                    <a:bodyPr/>
                    <a:lstStyle/>
                    <a:p>
                      <a:pPr algn="l" fontAlgn="b"/>
                      <a:r>
                        <a:rPr lang="en-US" sz="1600" dirty="0" smtClean="0">
                          <a:latin typeface="+mj-lt"/>
                        </a:rPr>
                        <a:t>Period statistics with and without seven suspect results from two rigs</a:t>
                      </a:r>
                      <a:endParaRPr lang="en-US" sz="1600" b="0" i="0" u="none" strike="noStrike" dirty="0">
                        <a:solidFill>
                          <a:srgbClr val="000000"/>
                        </a:solidFill>
                        <a:effectLst/>
                        <a:latin typeface="+mj-lt"/>
                      </a:endParaRPr>
                    </a:p>
                  </a:txBody>
                  <a:tcPr marL="9525" marR="9525" marT="9525" marB="0" anchor="ctr"/>
                </a:tc>
              </a:tr>
              <a:tr h="33660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dirty="0" smtClean="0">
                          <a:effectLst/>
                          <a:latin typeface="+mj-lt"/>
                        </a:rPr>
                        <a:t>10/1/17 through 3/31/18**</a:t>
                      </a:r>
                      <a:endParaRPr lang="en-US" sz="1600" b="0" i="0" u="none" strike="noStrike" dirty="0" smtClean="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83</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79</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207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74</a:t>
                      </a:r>
                      <a:endParaRPr lang="en-US" sz="1600" b="0" i="0" u="none" strike="noStrike" dirty="0">
                        <a:solidFill>
                          <a:srgbClr val="000000"/>
                        </a:solidFill>
                        <a:effectLst/>
                        <a:latin typeface="+mj-lt"/>
                      </a:endParaRPr>
                    </a:p>
                  </a:txBody>
                  <a:tcPr marL="9525" marR="9525" marT="9525" marB="0" anchor="ctr"/>
                </a:tc>
                <a:tc vMerge="1">
                  <a:txBody>
                    <a:bodyPr/>
                    <a:lstStyle/>
                    <a:p>
                      <a:pPr algn="ctr" fontAlgn="b"/>
                      <a:endParaRPr lang="en-US" sz="1600" b="0" i="0" u="none" strike="noStrike" dirty="0">
                        <a:solidFill>
                          <a:srgbClr val="000000"/>
                        </a:solidFill>
                        <a:effectLst/>
                        <a:latin typeface="Calibri" panose="020F0502020204030204" pitchFamily="34" charset="0"/>
                      </a:endParaRPr>
                    </a:p>
                  </a:txBody>
                  <a:tcPr marL="9525" marR="9525" marT="9525" marB="0" anchor="b"/>
                </a:tc>
              </a:tr>
              <a:tr h="33660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dirty="0" smtClean="0">
                          <a:effectLst/>
                          <a:latin typeface="+mj-lt"/>
                        </a:rPr>
                        <a:t>4/1/18 through 9/30/18</a:t>
                      </a:r>
                      <a:endParaRPr lang="en-US" sz="1600" b="0" i="0" u="none" strike="noStrike" dirty="0" smtClean="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12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122</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2184</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49</a:t>
                      </a:r>
                      <a:endParaRPr lang="en-US" sz="1600" b="0" i="0" u="none" strike="noStrike" dirty="0">
                        <a:solidFill>
                          <a:srgbClr val="000000"/>
                        </a:solidFill>
                        <a:effectLst/>
                        <a:latin typeface="+mj-lt"/>
                      </a:endParaRPr>
                    </a:p>
                  </a:txBody>
                  <a:tcPr marL="9525" marR="9525" marT="9525" marB="0" anchor="ctr"/>
                </a:tc>
                <a:tc rowSpan="2">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dirty="0" smtClean="0">
                          <a:latin typeface="+mj-lt"/>
                        </a:rPr>
                        <a:t>Period statistics with and without one extreme result included</a:t>
                      </a:r>
                      <a:endParaRPr lang="en-US" sz="1600" b="0" i="0" u="none" strike="noStrike" dirty="0" smtClean="0">
                        <a:solidFill>
                          <a:srgbClr val="000000"/>
                        </a:solidFill>
                        <a:effectLst/>
                        <a:latin typeface="+mj-lt"/>
                      </a:endParaRPr>
                    </a:p>
                  </a:txBody>
                  <a:tcPr marL="9525" marR="9525" marT="9525" marB="0" anchor="ctr"/>
                </a:tc>
              </a:tr>
              <a:tr h="33660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dirty="0" smtClean="0">
                          <a:effectLst/>
                          <a:latin typeface="+mj-lt"/>
                        </a:rPr>
                        <a:t>4/1/18 through 9/30/18</a:t>
                      </a:r>
                      <a:endParaRPr lang="en-US" sz="1600" b="0" i="0" u="none" strike="noStrike" dirty="0" smtClean="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125</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121</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1958</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u="none" strike="noStrike" dirty="0" smtClean="0">
                          <a:effectLst/>
                          <a:latin typeface="+mj-lt"/>
                        </a:rPr>
                        <a:t>-0.53</a:t>
                      </a:r>
                      <a:endParaRPr lang="en-US" sz="1600" b="0" i="0" u="none" strike="noStrike" dirty="0">
                        <a:solidFill>
                          <a:srgbClr val="000000"/>
                        </a:solidFill>
                        <a:effectLst/>
                        <a:latin typeface="+mj-lt"/>
                      </a:endParaRPr>
                    </a:p>
                  </a:txBody>
                  <a:tcPr marL="9525" marR="9525" marT="9525" marB="0" anchor="ctr"/>
                </a:tc>
                <a:tc vMerge="1">
                  <a:txBody>
                    <a:bodyPr/>
                    <a:lstStyle/>
                    <a:p>
                      <a:pPr algn="l" fontAlgn="b"/>
                      <a:endParaRPr lang="en-US" sz="1600" b="0" i="0" u="none" strike="noStrike" dirty="0">
                        <a:solidFill>
                          <a:srgbClr val="000000"/>
                        </a:solidFill>
                        <a:effectLst/>
                        <a:latin typeface="Calibri" panose="020F0502020204030204" pitchFamily="34" charset="0"/>
                      </a:endParaRPr>
                    </a:p>
                  </a:txBody>
                  <a:tcPr marL="9525" marR="9525" marT="9525" marB="0" anchor="ctr"/>
                </a:tc>
              </a:tr>
              <a:tr h="33660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dirty="0" smtClean="0">
                          <a:effectLst/>
                          <a:latin typeface="+mj-lt"/>
                        </a:rPr>
                        <a:t>10/1/18 through 3/31/19</a:t>
                      </a:r>
                      <a:endParaRPr lang="en-US" sz="1600" b="0" i="0" u="none" strike="noStrike" dirty="0" smtClean="0">
                        <a:solidFill>
                          <a:srgbClr val="000000"/>
                        </a:solidFill>
                        <a:effectLst/>
                        <a:latin typeface="+mj-lt"/>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100</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9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0.2738</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0.04</a:t>
                      </a:r>
                      <a:endParaRPr lang="en-US" sz="1600" b="0" i="0" u="none" strike="noStrike" dirty="0">
                        <a:solidFill>
                          <a:srgbClr val="000000"/>
                        </a:solidFill>
                        <a:effectLst/>
                        <a:latin typeface="+mj-lt"/>
                      </a:endParaRPr>
                    </a:p>
                  </a:txBody>
                  <a:tcPr marL="9525" marR="9525" marT="9525"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600" b="0" i="0" u="none" strike="noStrike" dirty="0" smtClean="0">
                        <a:solidFill>
                          <a:srgbClr val="000000"/>
                        </a:solidFill>
                        <a:effectLst/>
                        <a:latin typeface="+mj-lt"/>
                      </a:endParaRPr>
                    </a:p>
                  </a:txBody>
                  <a:tcPr marL="9525" marR="9525" marT="9525" marB="0" anchor="ctr"/>
                </a:tc>
              </a:tr>
              <a:tr h="336602">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1600" u="none" strike="noStrike" kern="1200" dirty="0" smtClean="0">
                          <a:solidFill>
                            <a:schemeClr val="dk1"/>
                          </a:solidFill>
                          <a:effectLst/>
                          <a:latin typeface="+mn-lt"/>
                          <a:ea typeface="+mn-ea"/>
                          <a:cs typeface="+mn-cs"/>
                        </a:rPr>
                        <a:t>4/1/19 through 9/30/19</a:t>
                      </a:r>
                      <a:endParaRPr lang="en-US" sz="1600" b="0" i="0" u="none" strike="noStrike" kern="1200" dirty="0" smtClean="0">
                        <a:solidFill>
                          <a:srgbClr val="000000"/>
                        </a:solidFill>
                        <a:effectLst/>
                        <a:latin typeface="+mn-lt"/>
                        <a:ea typeface="+mn-ea"/>
                        <a:cs typeface="+mn-cs"/>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58</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54</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0.2326</a:t>
                      </a:r>
                      <a:endParaRPr lang="en-US" sz="1600" b="0" i="0" u="none" strike="noStrike" dirty="0">
                        <a:solidFill>
                          <a:srgbClr val="000000"/>
                        </a:solidFill>
                        <a:effectLst/>
                        <a:latin typeface="+mj-lt"/>
                      </a:endParaRPr>
                    </a:p>
                  </a:txBody>
                  <a:tcPr marL="9525" marR="9525" marT="9525" marB="0" anchor="ctr"/>
                </a:tc>
                <a:tc>
                  <a:txBody>
                    <a:bodyPr/>
                    <a:lstStyle/>
                    <a:p>
                      <a:pPr algn="ctr" fontAlgn="b"/>
                      <a:r>
                        <a:rPr lang="en-US" sz="1600" b="0" i="0" u="none" strike="noStrike" dirty="0" smtClean="0">
                          <a:solidFill>
                            <a:srgbClr val="000000"/>
                          </a:solidFill>
                          <a:effectLst/>
                          <a:latin typeface="+mj-lt"/>
                        </a:rPr>
                        <a:t>-0.12</a:t>
                      </a:r>
                      <a:endParaRPr lang="en-US" sz="1600" b="0" i="0" u="none" strike="noStrike" dirty="0">
                        <a:solidFill>
                          <a:srgbClr val="000000"/>
                        </a:solidFill>
                        <a:effectLst/>
                        <a:latin typeface="+mj-lt"/>
                      </a:endParaRPr>
                    </a:p>
                  </a:txBody>
                  <a:tcPr marL="9525" marR="9525" marT="9525" marB="0" anchor="ct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1600" b="0" i="0" u="none" strike="noStrike" dirty="0" smtClean="0">
                        <a:solidFill>
                          <a:srgbClr val="000000"/>
                        </a:solidFill>
                        <a:effectLst/>
                        <a:latin typeface="+mj-lt"/>
                      </a:endParaRPr>
                    </a:p>
                  </a:txBody>
                  <a:tcPr marL="9525" marR="9525" marT="9525" marB="0" anchor="ctr"/>
                </a:tc>
              </a:tr>
            </a:tbl>
          </a:graphicData>
        </a:graphic>
      </p:graphicFrame>
      <p:sp>
        <p:nvSpPr>
          <p:cNvPr id="7" name="Rechteck 12"/>
          <p:cNvSpPr>
            <a:spLocks/>
          </p:cNvSpPr>
          <p:nvPr/>
        </p:nvSpPr>
        <p:spPr>
          <a:xfrm>
            <a:off x="442913" y="6085587"/>
            <a:ext cx="6877521" cy="123111"/>
          </a:xfrm>
          <a:prstGeom prst="rect">
            <a:avLst/>
          </a:prstGeom>
        </p:spPr>
        <p:txBody>
          <a:bodyPr lIns="0" tIns="0" rIns="0" bIns="0">
            <a:spAutoFit/>
          </a:bodyPr>
          <a:lstStyle/>
          <a:p>
            <a:r>
              <a:rPr lang="en-US" sz="800" b="0" i="0" u="none" baseline="0" dirty="0" smtClean="0">
                <a:solidFill>
                  <a:prstClr val="black"/>
                </a:solidFill>
              </a:rPr>
              <a:t>Updated</a:t>
            </a:r>
            <a:r>
              <a:rPr lang="en-US" sz="800" b="0" i="0" u="none" dirty="0" smtClean="0">
                <a:solidFill>
                  <a:prstClr val="black"/>
                </a:solidFill>
              </a:rPr>
              <a:t> 08/06/19</a:t>
            </a:r>
            <a:endParaRPr lang="de-DE" sz="800" dirty="0"/>
          </a:p>
        </p:txBody>
      </p:sp>
    </p:spTree>
    <p:extLst>
      <p:ext uri="{BB962C8B-B14F-4D97-AF65-F5344CB8AC3E}">
        <p14:creationId xmlns:p14="http://schemas.microsoft.com/office/powerpoint/2010/main" val="32495040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ext uri="{D42A27DB-BD31-4B8C-83A1-F6EECF244321}">
                <p14:modId xmlns:p14="http://schemas.microsoft.com/office/powerpoint/2010/main" val="27951302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10"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 name="Rectangle 5"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smtClean="0"/>
              <a:t>CUSUM severity analysis</a:t>
            </a:r>
            <a:endParaRPr lang="en-US" dirty="0"/>
          </a:p>
        </p:txBody>
      </p:sp>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pic>
        <p:nvPicPr>
          <p:cNvPr id="3" name="Picture 2"/>
          <p:cNvPicPr>
            <a:picLocks noChangeAspect="1"/>
          </p:cNvPicPr>
          <p:nvPr/>
        </p:nvPicPr>
        <p:blipFill>
          <a:blip r:embed="rId8"/>
          <a:stretch>
            <a:fillRect/>
          </a:stretch>
        </p:blipFill>
        <p:spPr>
          <a:xfrm>
            <a:off x="442913" y="1371600"/>
            <a:ext cx="6268148" cy="4724400"/>
          </a:xfrm>
          <a:prstGeom prst="rect">
            <a:avLst/>
          </a:prstGeom>
        </p:spPr>
      </p:pic>
    </p:spTree>
    <p:extLst>
      <p:ext uri="{BB962C8B-B14F-4D97-AF65-F5344CB8AC3E}">
        <p14:creationId xmlns:p14="http://schemas.microsoft.com/office/powerpoint/2010/main" val="38160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31269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6"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b="1" dirty="0" err="1" smtClean="0">
              <a:solidFill>
                <a:schemeClr val="tx1"/>
              </a:solidFill>
              <a:latin typeface="Calibri" panose="020F0502020204030204" pitchFamily="34" charset="0"/>
              <a:ea typeface="+mj-ea"/>
              <a:cs typeface="+mj-cs"/>
              <a:sym typeface="Calibri" panose="020F0502020204030204" pitchFamily="34" charset="0"/>
            </a:endParaRPr>
          </a:p>
        </p:txBody>
      </p:sp>
      <p:sp>
        <p:nvSpPr>
          <p:cNvPr id="2" name="Title 1"/>
          <p:cNvSpPr>
            <a:spLocks noGrp="1"/>
          </p:cNvSpPr>
          <p:nvPr>
            <p:ph type="title"/>
          </p:nvPr>
        </p:nvSpPr>
        <p:spPr/>
        <p:txBody>
          <a:bodyPr/>
          <a:lstStyle/>
          <a:p>
            <a:r>
              <a:rPr lang="en-US" dirty="0" smtClean="0"/>
              <a:t>TMC 438-2</a:t>
            </a:r>
            <a:endParaRPr lang="en-US" dirty="0"/>
          </a:p>
        </p:txBody>
      </p:sp>
      <p:pic>
        <p:nvPicPr>
          <p:cNvPr id="8" name="Content Placeholder 7"/>
          <p:cNvPicPr>
            <a:picLocks noGrp="1" noChangeAspect="1"/>
          </p:cNvPicPr>
          <p:nvPr>
            <p:ph idx="1"/>
          </p:nvPr>
        </p:nvPicPr>
        <p:blipFill>
          <a:blip r:embed="rId7"/>
          <a:stretch>
            <a:fillRect/>
          </a:stretch>
        </p:blipFill>
        <p:spPr>
          <a:xfrm>
            <a:off x="6429883" y="1371599"/>
            <a:ext cx="5248483" cy="1489295"/>
          </a:xfrm>
          <a:prstGeom prst="rect">
            <a:avLst/>
          </a:prstGeom>
        </p:spPr>
      </p:pic>
      <p:sp>
        <p:nvSpPr>
          <p:cNvPr id="4" name="Footer Placeholder 3"/>
          <p:cNvSpPr>
            <a:spLocks noGrp="1"/>
          </p:cNvSpPr>
          <p:nvPr>
            <p:ph type="ftr" sz="quarter" idx="11"/>
          </p:nvPr>
        </p:nvSpPr>
        <p:spPr/>
        <p:txBody>
          <a:bodyPr/>
          <a:lstStyle/>
          <a:p>
            <a:r>
              <a:rPr lang="en-US" smtClean="0">
                <a:solidFill>
                  <a:prstClr val="black"/>
                </a:solidFill>
              </a:rPr>
              <a:t>ROBO SP Meeting - August 2019</a:t>
            </a:r>
            <a:endParaRPr lang="en-US" dirty="0">
              <a:solidFill>
                <a:prstClr val="black"/>
              </a:solidFill>
            </a:endParaRPr>
          </a:p>
        </p:txBody>
      </p:sp>
      <p:pic>
        <p:nvPicPr>
          <p:cNvPr id="7" name="Picture 6"/>
          <p:cNvPicPr>
            <a:picLocks noChangeAspect="1"/>
          </p:cNvPicPr>
          <p:nvPr/>
        </p:nvPicPr>
        <p:blipFill>
          <a:blip r:embed="rId8"/>
          <a:stretch>
            <a:fillRect/>
          </a:stretch>
        </p:blipFill>
        <p:spPr>
          <a:xfrm>
            <a:off x="442913" y="1371600"/>
            <a:ext cx="5876190" cy="2066667"/>
          </a:xfrm>
          <a:prstGeom prst="rect">
            <a:avLst/>
          </a:prstGeom>
        </p:spPr>
      </p:pic>
      <p:sp>
        <p:nvSpPr>
          <p:cNvPr id="9" name="Rechteck 12"/>
          <p:cNvSpPr>
            <a:spLocks/>
          </p:cNvSpPr>
          <p:nvPr/>
        </p:nvSpPr>
        <p:spPr>
          <a:xfrm>
            <a:off x="442913" y="6085587"/>
            <a:ext cx="6877521" cy="123111"/>
          </a:xfrm>
          <a:prstGeom prst="rect">
            <a:avLst/>
          </a:prstGeom>
        </p:spPr>
        <p:txBody>
          <a:bodyPr lIns="0" tIns="0" rIns="0" bIns="0">
            <a:spAutoFit/>
          </a:bodyPr>
          <a:lstStyle/>
          <a:p>
            <a:r>
              <a:rPr lang="en-US" sz="800" b="0" i="0" u="none" baseline="0" dirty="0" smtClean="0">
                <a:solidFill>
                  <a:prstClr val="black"/>
                </a:solidFill>
              </a:rPr>
              <a:t>Source: </a:t>
            </a:r>
            <a:r>
              <a:rPr lang="en-US" sz="800" dirty="0">
                <a:hlinkClick r:id="rId9"/>
              </a:rPr>
              <a:t>http://</a:t>
            </a:r>
            <a:r>
              <a:rPr lang="en-US" sz="800" dirty="0" smtClean="0">
                <a:hlinkClick r:id="rId9"/>
              </a:rPr>
              <a:t>www.astmtmc.cmu.edu/ftp/docs/ltms/ltms.pdf</a:t>
            </a:r>
            <a:r>
              <a:rPr lang="en-US" sz="800" dirty="0" smtClean="0"/>
              <a:t> 04-2019 version</a:t>
            </a:r>
            <a:endParaRPr lang="de-DE" sz="800" dirty="0"/>
          </a:p>
        </p:txBody>
      </p:sp>
      <p:sp>
        <p:nvSpPr>
          <p:cNvPr id="10" name="Content Placeholder 2"/>
          <p:cNvSpPr txBox="1">
            <a:spLocks/>
          </p:cNvSpPr>
          <p:nvPr/>
        </p:nvSpPr>
        <p:spPr>
          <a:xfrm>
            <a:off x="442913" y="3560923"/>
            <a:ext cx="11304000" cy="2535077"/>
          </a:xfrm>
          <a:prstGeom prst="rect">
            <a:avLst/>
          </a:prstGeom>
        </p:spPr>
        <p:txBody>
          <a:bodyPr vert="horz" lIns="0" tIns="0" rIns="0" bIns="0" rtlCol="0">
            <a:noAutofit/>
          </a:bodyPr>
          <a:lstStyle>
            <a:lvl1pPr marL="180000" indent="-180000" algn="l" defTabSz="914400" rtl="0" eaLnBrk="1" latinLnBrk="0" hangingPunct="1">
              <a:lnSpc>
                <a:spcPct val="100000"/>
              </a:lnSpc>
              <a:spcBef>
                <a:spcPts val="1200"/>
              </a:spcBef>
              <a:buFont typeface="Wingdings" panose="05000000000000000000" pitchFamily="2" charset="2"/>
              <a:buChar char="§"/>
              <a:defRPr sz="2000" kern="1200">
                <a:solidFill>
                  <a:schemeClr val="tx1"/>
                </a:solidFill>
                <a:latin typeface="Calibri" panose="020F0502020204030204" pitchFamily="34" charset="0"/>
                <a:ea typeface="+mn-ea"/>
                <a:cs typeface="+mn-cs"/>
              </a:defRPr>
            </a:lvl1pPr>
            <a:lvl2pPr marL="360000" indent="-180000" algn="l" defTabSz="914400" rtl="0" eaLnBrk="1" latinLnBrk="0" hangingPunct="1">
              <a:lnSpc>
                <a:spcPct val="100000"/>
              </a:lnSpc>
              <a:spcBef>
                <a:spcPts val="1200"/>
              </a:spcBef>
              <a:buFont typeface="Symbol" panose="05050102010706020507" pitchFamily="18" charset="2"/>
              <a:buChar char="-"/>
              <a:defRPr sz="1800" kern="1200">
                <a:solidFill>
                  <a:schemeClr val="tx1"/>
                </a:solidFill>
                <a:latin typeface="Calibri" panose="020F0502020204030204" pitchFamily="34" charset="0"/>
                <a:ea typeface="+mn-ea"/>
                <a:cs typeface="+mn-cs"/>
              </a:defRPr>
            </a:lvl2pPr>
            <a:lvl3pPr marL="54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3pPr>
            <a:lvl4pPr marL="72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4pPr>
            <a:lvl5pPr marL="900000" indent="-180000"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5pPr>
            <a:lvl6pPr marL="108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6pPr>
            <a:lvl7pPr marL="126000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7pPr>
            <a:lvl8pPr marL="1438275"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8pPr>
            <a:lvl9pPr marL="1619250" indent="-180975" algn="l" defTabSz="914400" rtl="0" eaLnBrk="1" latinLnBrk="0" hangingPunct="1">
              <a:lnSpc>
                <a:spcPct val="100000"/>
              </a:lnSpc>
              <a:spcBef>
                <a:spcPts val="1200"/>
              </a:spcBef>
              <a:buFont typeface="Symbol" panose="05050102010706020507" pitchFamily="18" charset="2"/>
              <a:buChar char="-"/>
              <a:defRPr sz="1600" kern="1200">
                <a:solidFill>
                  <a:schemeClr val="tx1"/>
                </a:solidFill>
                <a:latin typeface="Calibri" panose="020F0502020204030204" pitchFamily="34" charset="0"/>
                <a:ea typeface="+mn-ea"/>
                <a:cs typeface="+mn-cs"/>
              </a:defRPr>
            </a:lvl9pPr>
          </a:lstStyle>
          <a:p>
            <a:r>
              <a:rPr lang="en-US" dirty="0" smtClean="0"/>
              <a:t>At the April SP meeting we agreed to track </a:t>
            </a:r>
            <a:r>
              <a:rPr lang="en-US" dirty="0"/>
              <a:t># of 438-2 runs in ROBO LTMS. Once &gt;20 runs are reached, new limits will be calculated and proposed to SP</a:t>
            </a:r>
            <a:endParaRPr lang="en-US" dirty="0" smtClean="0"/>
          </a:p>
          <a:p>
            <a:pPr lvl="1"/>
            <a:r>
              <a:rPr lang="en-US" dirty="0" smtClean="0"/>
              <a:t>Only 3 new data points for 438-2 since February 1, 2019 </a:t>
            </a:r>
            <a:r>
              <a:rPr lang="en-US" dirty="0" smtClean="0">
                <a:sym typeface="Wingdings" panose="05000000000000000000" pitchFamily="2" charset="2"/>
              </a:rPr>
              <a:t> Total of 13 runs</a:t>
            </a:r>
            <a:endParaRPr lang="en-US" dirty="0" smtClean="0"/>
          </a:p>
          <a:p>
            <a:pPr lvl="1"/>
            <a:r>
              <a:rPr lang="en-US" dirty="0" smtClean="0"/>
              <a:t>Will continue to monitor # of runs.</a:t>
            </a:r>
          </a:p>
          <a:p>
            <a:endParaRPr lang="en-US" dirty="0"/>
          </a:p>
        </p:txBody>
      </p:sp>
    </p:spTree>
    <p:extLst>
      <p:ext uri="{BB962C8B-B14F-4D97-AF65-F5344CB8AC3E}">
        <p14:creationId xmlns:p14="http://schemas.microsoft.com/office/powerpoint/2010/main" val="1308650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3d3woHBR1O1JbEiBA9G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usZb7nerQduDrD_VwpfoH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n_fohp0ZTBmuo.8DEcAR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tUVb9KnRDG2p6aZcX3IO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P5kE.FHQf2gixfblydIk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A2knaI1RAGXmE.7J8DjL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J_MnGaG7Qmyze75745dVM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RWexOo8RkiVqsxqOX0Cw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KxWt1A1T1mmrT1Ov2wML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M6lmSomRj2J3uRpq0BNF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vxsjvIA6RgGcPP3Hz4J7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F76pyydRWOEbYcK9cbWB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64DHt2B0RKuOxV_wS_hf.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qIwGqcWRR.y4c6lPLY_VA"/>
</p:tagLst>
</file>

<file path=ppt/tags/tag4.xml><?xml version="1.0" encoding="utf-8"?>
<p:tagLst xmlns:a="http://schemas.openxmlformats.org/drawingml/2006/main" xmlns:r="http://schemas.openxmlformats.org/officeDocument/2006/relationships" xmlns:p="http://schemas.openxmlformats.org/presentationml/2006/main">
  <p:tag name="MIO_FALLBACK_LAYOUT" val="1"/>
  <p:tag name="MIO_SHOW_DATE" val="True"/>
  <p:tag name="MIO_SHOW_FOOTER" val="True"/>
  <p:tag name="MIO_SHOW_PAGENUMBER" val="True"/>
  <p:tag name="MIO_AVOID_BLANK_LAYOUT" val="True"/>
  <p:tag name="MIO_NUMBER_OF_VALID_LAYOUTS" val="10"/>
  <p:tag name="MIO_MST_COLOR_1" val="0,0,0,Dunkel 1"/>
  <p:tag name="MIO_MST_COLOR_2" val="255,255,255,Hell 1"/>
  <p:tag name="MIO_MST_COLOR_3" val="171,165,160,Dunkel 2"/>
  <p:tag name="MIO_MST_COLOR_4" val="230,229,227,Hell 2"/>
  <p:tag name="MIO_MST_COLOR_5" val="192,188,184,Akzent 1"/>
  <p:tag name="MIO_MST_COLOR_6" val="153,29,133,Akzent 2"/>
  <p:tag name="MIO_MST_COLOR_7" val="150,143,136,Akzent 3"/>
  <p:tag name="MIO_MST_COLOR_8" val="194,119,182,Akzent 4"/>
  <p:tag name="MIO_MST_COLOR_9" val="214,211,208,Akzent 5"/>
  <p:tag name="MIO_MST_COLOR_10" val="214,165,206,Akzent 6"/>
  <p:tag name="MIO_MST_COLOR_11" val="173,74,157,"/>
  <p:tag name="MIO_MST_COLOR_12" val="150,143,136,"/>
  <p:tag name="MIO_HDS" val="True"/>
  <p:tag name="MIO_EK" val="3465"/>
  <p:tag name="MIO_UPDATE" val="True"/>
  <p:tag name="MIO_VERSION" val="09.09.2016 16:00:57"/>
  <p:tag name="MIO_DBID" val="76B887B1-F9F7-4AC7-ABD8-E3D499AA1F6D"/>
  <p:tag name="MIO_LASTDOWNLOADED" val="09.09.2016 16:00:57"/>
  <p:tag name="MIO_OBJECTNAME" val="Evonik Master Englisch 16:9"/>
  <p:tag name="MIO_LASTEDITORNAME" val="Admin 2"/>
  <p:tag name="MIO_PRESI_FIRST_SLIDENUMBER"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vonik">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5"/>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Aft>
            <a:spcPts val="600"/>
          </a:spcAft>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spcAft>
            <a:spcPts val="600"/>
          </a:spcAft>
          <a:defRPr sz="1600" dirty="0" err="1" smtClean="0"/>
        </a:defPPr>
      </a:lstStyle>
    </a:txDef>
  </a:objectDefaults>
  <a:extraClrSchemeLst/>
  <a:extLst>
    <a:ext uri="{05A4C25C-085E-4340-85A3-A5531E510DB2}">
      <thm15:themeFamily xmlns:thm15="http://schemas.microsoft.com/office/thememl/2012/main" name="Evonik-Master_16 9_EN_v2" id="{29E5FECD-DD2D-4DBA-9C20-D98C7ED11341}" vid="{6326BF4C-816A-4270-A7F7-DD861E5F7D1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3304</TotalTime>
  <Words>1802</Words>
  <Application>Microsoft Office PowerPoint</Application>
  <PresentationFormat>Widescreen</PresentationFormat>
  <Paragraphs>618</Paragraphs>
  <Slides>19</Slides>
  <Notes>6</Notes>
  <HiddenSlides>2</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8" baseType="lpstr">
      <vt:lpstr>MS Gothic</vt:lpstr>
      <vt:lpstr>Arial</vt:lpstr>
      <vt:lpstr>Calibri</vt:lpstr>
      <vt:lpstr>Segoe UI Symbol</vt:lpstr>
      <vt:lpstr>Symbol</vt:lpstr>
      <vt:lpstr>Times New Roman</vt:lpstr>
      <vt:lpstr>Wingdings</vt:lpstr>
      <vt:lpstr>Evonik</vt:lpstr>
      <vt:lpstr>think-cell Slide</vt:lpstr>
      <vt:lpstr>ROBO Surveillance Panel Meeting</vt:lpstr>
      <vt:lpstr>Agenda</vt:lpstr>
      <vt:lpstr>ASTM Antitrust and Recording Policy</vt:lpstr>
      <vt:lpstr>Membership</vt:lpstr>
      <vt:lpstr>Motion to accept June 20, 2019 meeting minutes</vt:lpstr>
      <vt:lpstr>Actions from June 20th meeting</vt:lpstr>
      <vt:lpstr>ROBO Industry Statistics</vt:lpstr>
      <vt:lpstr>CUSUM severity analysis</vt:lpstr>
      <vt:lpstr>TMC 438-2</vt:lpstr>
      <vt:lpstr>TMC 434-3 approval TMC 434-2 levels are critically low</vt:lpstr>
      <vt:lpstr>TMC 434-3 approval Alignment with previous versions</vt:lpstr>
      <vt:lpstr>Dilute nitrogen dioxide Next steps</vt:lpstr>
      <vt:lpstr>Method housekeeping</vt:lpstr>
      <vt:lpstr>Method housekeeping Feedback from Mike Faile and Aimee Shinhearl</vt:lpstr>
      <vt:lpstr>Any Additional Topics?</vt:lpstr>
      <vt:lpstr>Additional topics from Mike Faile and Aimee Shinhearl</vt:lpstr>
      <vt:lpstr>Next Meeting</vt:lpstr>
      <vt:lpstr>Dilute nitrogen dioxide Comparison between concentrated and dilute</vt:lpstr>
      <vt:lpstr>Dilute nitrogen dioxide Available data</vt:lpstr>
    </vt:vector>
  </TitlesOfParts>
  <Company>Evonik Industries A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lls, Justin</dc:creator>
  <cp:lastModifiedBy>Mills, Justin</cp:lastModifiedBy>
  <cp:revision>173</cp:revision>
  <cp:lastPrinted>2019-06-20T13:54:36Z</cp:lastPrinted>
  <dcterms:created xsi:type="dcterms:W3CDTF">2018-04-11T13:38:47Z</dcterms:created>
  <dcterms:modified xsi:type="dcterms:W3CDTF">2019-08-07T14:35:16Z</dcterms:modified>
</cp:coreProperties>
</file>